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5"/>
  </p:notesMasterIdLst>
  <p:handoutMasterIdLst>
    <p:handoutMasterId r:id="rId26"/>
  </p:handoutMasterIdLst>
  <p:sldIdLst>
    <p:sldId id="415" r:id="rId2"/>
    <p:sldId id="442" r:id="rId3"/>
    <p:sldId id="418" r:id="rId4"/>
    <p:sldId id="444" r:id="rId5"/>
    <p:sldId id="420" r:id="rId6"/>
    <p:sldId id="427" r:id="rId7"/>
    <p:sldId id="446" r:id="rId8"/>
    <p:sldId id="424" r:id="rId9"/>
    <p:sldId id="411" r:id="rId10"/>
    <p:sldId id="443" r:id="rId11"/>
    <p:sldId id="416" r:id="rId12"/>
    <p:sldId id="438" r:id="rId13"/>
    <p:sldId id="439" r:id="rId14"/>
    <p:sldId id="417" r:id="rId15"/>
    <p:sldId id="428" r:id="rId16"/>
    <p:sldId id="447" r:id="rId17"/>
    <p:sldId id="434" r:id="rId18"/>
    <p:sldId id="445" r:id="rId19"/>
    <p:sldId id="432" r:id="rId20"/>
    <p:sldId id="430" r:id="rId21"/>
    <p:sldId id="431" r:id="rId22"/>
    <p:sldId id="440" r:id="rId23"/>
    <p:sldId id="357" r:id="rId24"/>
  </p:sldIdLst>
  <p:sldSz cx="9144000" cy="5143500" type="screen16x9"/>
  <p:notesSz cx="6858000" cy="9144000"/>
  <p:custDataLst>
    <p:tags r:id="rId27"/>
  </p:custDataLst>
  <p:defaultTextStyle>
    <a:defPPr>
      <a:defRPr lang="sv-SE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56" userDrawn="1">
          <p15:clr>
            <a:srgbClr val="A4A3A4"/>
          </p15:clr>
        </p15:guide>
        <p15:guide id="3" orient="horz" pos="701" userDrawn="1">
          <p15:clr>
            <a:srgbClr val="A4A3A4"/>
          </p15:clr>
        </p15:guide>
        <p15:guide id="4" orient="horz" pos="2859" userDrawn="1">
          <p15:clr>
            <a:srgbClr val="A4A3A4"/>
          </p15:clr>
        </p15:guide>
        <p15:guide id="5" pos="5490" userDrawn="1">
          <p15:clr>
            <a:srgbClr val="A4A3A4"/>
          </p15:clr>
        </p15:guide>
        <p15:guide id="7" pos="272" userDrawn="1">
          <p15:clr>
            <a:srgbClr val="A4A3A4"/>
          </p15:clr>
        </p15:guide>
        <p15:guide id="8" orient="horz" pos="240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Hans Ostlin" initials="HAON" lastIdx="15" clrIdx="0"/>
  <p:cmAuthor id="1" name="Simon Copley" initials="" lastIdx="6" clrIdx="1"/>
  <p:cmAuthor id="2" name="Nils-Ola Nilsson" initials="" lastIdx="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notes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BD11C"/>
    <a:srgbClr val="FBD11D"/>
    <a:srgbClr val="FF0909"/>
    <a:srgbClr val="D8E2EE"/>
    <a:srgbClr val="0054A3"/>
    <a:srgbClr val="919191"/>
    <a:srgbClr val="9F3259"/>
    <a:srgbClr val="69AAA4"/>
    <a:srgbClr val="3C3C3C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C098D57-FE45-496F-9593-1323644BFE91}" v="1" dt="2023-03-15T06:46:57.00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85170" autoAdjust="0"/>
  </p:normalViewPr>
  <p:slideViewPr>
    <p:cSldViewPr snapToGrid="0" showGuides="1">
      <p:cViewPr varScale="1">
        <p:scale>
          <a:sx n="75" d="100"/>
          <a:sy n="75" d="100"/>
        </p:scale>
        <p:origin x="1004" y="36"/>
      </p:cViewPr>
      <p:guideLst>
        <p:guide orient="horz" pos="256"/>
        <p:guide orient="horz" pos="701"/>
        <p:guide orient="horz" pos="2859"/>
        <p:guide pos="5490"/>
        <p:guide pos="272"/>
        <p:guide orient="horz" pos="240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153" d="100"/>
          <a:sy n="153" d="100"/>
        </p:scale>
        <p:origin x="4824" y="1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microsoft.com/office/2015/10/relationships/revisionInfo" Target="revisionInfo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33" Type="http://schemas.microsoft.com/office/2016/11/relationships/changesInfo" Target="changesInfos/changesInfo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gs" Target="tags/tag1.xml"/><Relationship Id="rId30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elena Remes" userId="c24eac19-ec64-40de-9d05-2e302c134ec3" providerId="ADAL" clId="{2C098D57-FE45-496F-9593-1323644BFE91}"/>
    <pc:docChg chg="modSld">
      <pc:chgData name="Helena Remes" userId="c24eac19-ec64-40de-9d05-2e302c134ec3" providerId="ADAL" clId="{2C098D57-FE45-496F-9593-1323644BFE91}" dt="2023-03-15T06:47:37.107" v="20" actId="1076"/>
      <pc:docMkLst>
        <pc:docMk/>
      </pc:docMkLst>
      <pc:sldChg chg="addSp modSp mod">
        <pc:chgData name="Helena Remes" userId="c24eac19-ec64-40de-9d05-2e302c134ec3" providerId="ADAL" clId="{2C098D57-FE45-496F-9593-1323644BFE91}" dt="2023-03-15T06:47:37.107" v="20" actId="1076"/>
        <pc:sldMkLst>
          <pc:docMk/>
          <pc:sldMk cId="401021888" sldId="357"/>
        </pc:sldMkLst>
        <pc:spChg chg="add mod">
          <ac:chgData name="Helena Remes" userId="c24eac19-ec64-40de-9d05-2e302c134ec3" providerId="ADAL" clId="{2C098D57-FE45-496F-9593-1323644BFE91}" dt="2023-03-15T06:47:37.107" v="20" actId="1076"/>
          <ac:spMkLst>
            <pc:docMk/>
            <pc:sldMk cId="401021888" sldId="357"/>
            <ac:spMk id="2" creationId="{C05A6EA7-0E91-D822-4FD2-0F1CD038EFF7}"/>
          </ac:spMkLst>
        </pc:sp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30058E8-5BE9-41F0-94A2-F983ECFEF88D}" type="doc">
      <dgm:prSet loTypeId="urn:microsoft.com/office/officeart/2005/8/layout/process4" loCatId="process" qsTypeId="urn:microsoft.com/office/officeart/2005/8/quickstyle/simple2" qsCatId="simple" csTypeId="urn:microsoft.com/office/officeart/2005/8/colors/accent2_2" csCatId="accent2"/>
      <dgm:spPr/>
      <dgm:t>
        <a:bodyPr/>
        <a:lstStyle/>
        <a:p>
          <a:endParaRPr lang="en-US"/>
        </a:p>
      </dgm:t>
    </dgm:pt>
    <dgm:pt modelId="{B8A132EA-86E9-407C-8DE3-772AE5A2DC8B}">
      <dgm:prSet/>
      <dgm:spPr/>
      <dgm:t>
        <a:bodyPr/>
        <a:lstStyle/>
        <a:p>
          <a:r>
            <a:rPr lang="en-GB"/>
            <a:t>Asfalttipäällysteiden sideaineet ovat CE-merkittyjä rakennustuotteita</a:t>
          </a:r>
          <a:endParaRPr lang="en-US"/>
        </a:p>
      </dgm:t>
    </dgm:pt>
    <dgm:pt modelId="{9A65BC8E-280D-429F-9CFE-4C274264E349}" type="parTrans" cxnId="{D47164BC-BF23-4DB2-9FB6-9485DF710E45}">
      <dgm:prSet/>
      <dgm:spPr/>
      <dgm:t>
        <a:bodyPr/>
        <a:lstStyle/>
        <a:p>
          <a:endParaRPr lang="en-US"/>
        </a:p>
      </dgm:t>
    </dgm:pt>
    <dgm:pt modelId="{F10C9B64-2FC4-4ADF-9C5E-448A9C836CFA}" type="sibTrans" cxnId="{D47164BC-BF23-4DB2-9FB6-9485DF710E45}">
      <dgm:prSet/>
      <dgm:spPr/>
      <dgm:t>
        <a:bodyPr/>
        <a:lstStyle/>
        <a:p>
          <a:endParaRPr lang="en-US"/>
        </a:p>
      </dgm:t>
    </dgm:pt>
    <dgm:pt modelId="{AFAD0779-23F6-4A6D-9768-C1245D326FC5}">
      <dgm:prSet/>
      <dgm:spPr/>
      <dgm:t>
        <a:bodyPr/>
        <a:lstStyle/>
        <a:p>
          <a:r>
            <a:rPr lang="en-GB"/>
            <a:t>AVCP-luokka 2+ (ilmoitetun laitoksen tarkastustoiminta)</a:t>
          </a:r>
          <a:endParaRPr lang="en-US"/>
        </a:p>
      </dgm:t>
    </dgm:pt>
    <dgm:pt modelId="{F67752C2-2BDE-497F-B0D3-07A3B48886F7}" type="parTrans" cxnId="{B7034DEC-ADE0-4707-B28E-54E8EA85A07A}">
      <dgm:prSet/>
      <dgm:spPr/>
      <dgm:t>
        <a:bodyPr/>
        <a:lstStyle/>
        <a:p>
          <a:endParaRPr lang="en-US"/>
        </a:p>
      </dgm:t>
    </dgm:pt>
    <dgm:pt modelId="{0240053E-6E6C-4C5A-B9C7-4C7F21BF13AD}" type="sibTrans" cxnId="{B7034DEC-ADE0-4707-B28E-54E8EA85A07A}">
      <dgm:prSet/>
      <dgm:spPr/>
      <dgm:t>
        <a:bodyPr/>
        <a:lstStyle/>
        <a:p>
          <a:endParaRPr lang="en-US"/>
        </a:p>
      </dgm:t>
    </dgm:pt>
    <dgm:pt modelId="{8AE638E3-39F1-4857-BDC9-D604866FC78E}">
      <dgm:prSet/>
      <dgm:spPr/>
      <dgm:t>
        <a:bodyPr/>
        <a:lstStyle/>
        <a:p>
          <a:r>
            <a:rPr lang="en-GB"/>
            <a:t>Laatuvaatimukset pohjautuvat eurooppalaisiin yhdenmukaistettuihin tuotestandardeihin</a:t>
          </a:r>
          <a:endParaRPr lang="en-US"/>
        </a:p>
      </dgm:t>
    </dgm:pt>
    <dgm:pt modelId="{F966F067-1B2C-487E-B74C-783662C49900}" type="parTrans" cxnId="{C9B30AC5-1C19-45DD-BCF2-5880CBC53828}">
      <dgm:prSet/>
      <dgm:spPr/>
      <dgm:t>
        <a:bodyPr/>
        <a:lstStyle/>
        <a:p>
          <a:endParaRPr lang="en-US"/>
        </a:p>
      </dgm:t>
    </dgm:pt>
    <dgm:pt modelId="{A6298FBB-D006-41E7-977C-AC579AA823E5}" type="sibTrans" cxnId="{C9B30AC5-1C19-45DD-BCF2-5880CBC53828}">
      <dgm:prSet/>
      <dgm:spPr/>
      <dgm:t>
        <a:bodyPr/>
        <a:lstStyle/>
        <a:p>
          <a:endParaRPr lang="en-US"/>
        </a:p>
      </dgm:t>
    </dgm:pt>
    <dgm:pt modelId="{7DDF6F20-9705-43C5-9C42-AC521554CB11}">
      <dgm:prSet/>
      <dgm:spPr/>
      <dgm:t>
        <a:bodyPr/>
        <a:lstStyle/>
        <a:p>
          <a:r>
            <a:rPr lang="en-GB"/>
            <a:t>SFS-EN 12591:2009 Tiebitumit</a:t>
          </a:r>
          <a:endParaRPr lang="en-US"/>
        </a:p>
      </dgm:t>
    </dgm:pt>
    <dgm:pt modelId="{F909815E-D54B-44E2-A747-EEFE8DB62360}" type="parTrans" cxnId="{167753BA-8880-4B99-BAD0-3767E9EFE6A0}">
      <dgm:prSet/>
      <dgm:spPr/>
      <dgm:t>
        <a:bodyPr/>
        <a:lstStyle/>
        <a:p>
          <a:endParaRPr lang="en-US"/>
        </a:p>
      </dgm:t>
    </dgm:pt>
    <dgm:pt modelId="{274138DA-41D8-4B9E-93C2-07EBCA9D3984}" type="sibTrans" cxnId="{167753BA-8880-4B99-BAD0-3767E9EFE6A0}">
      <dgm:prSet/>
      <dgm:spPr/>
      <dgm:t>
        <a:bodyPr/>
        <a:lstStyle/>
        <a:p>
          <a:endParaRPr lang="en-US"/>
        </a:p>
      </dgm:t>
    </dgm:pt>
    <dgm:pt modelId="{C23E0443-142A-4EB1-89F1-7542385CCD27}">
      <dgm:prSet/>
      <dgm:spPr/>
      <dgm:t>
        <a:bodyPr/>
        <a:lstStyle/>
        <a:p>
          <a:r>
            <a:rPr lang="en-GB"/>
            <a:t>SFS-EN 13808:2013 Kationiset bitumiemulsiot</a:t>
          </a:r>
          <a:endParaRPr lang="en-US"/>
        </a:p>
      </dgm:t>
    </dgm:pt>
    <dgm:pt modelId="{91380A9F-A76D-4E26-9DEA-6119057FC56A}" type="parTrans" cxnId="{3C29E6C7-C2F4-4FF3-AC80-2C044150AB5D}">
      <dgm:prSet/>
      <dgm:spPr/>
      <dgm:t>
        <a:bodyPr/>
        <a:lstStyle/>
        <a:p>
          <a:endParaRPr lang="en-US"/>
        </a:p>
      </dgm:t>
    </dgm:pt>
    <dgm:pt modelId="{4922728F-8C63-4B8B-9952-62CF0E38E9E2}" type="sibTrans" cxnId="{3C29E6C7-C2F4-4FF3-AC80-2C044150AB5D}">
      <dgm:prSet/>
      <dgm:spPr/>
      <dgm:t>
        <a:bodyPr/>
        <a:lstStyle/>
        <a:p>
          <a:endParaRPr lang="en-US"/>
        </a:p>
      </dgm:t>
    </dgm:pt>
    <dgm:pt modelId="{478DDAE7-3EC8-4793-ADEC-B4B231F849C6}">
      <dgm:prSet/>
      <dgm:spPr/>
      <dgm:t>
        <a:bodyPr/>
        <a:lstStyle/>
        <a:p>
          <a:r>
            <a:rPr lang="en-GB"/>
            <a:t>SFS-EN 14023:2010 Polymeerimodifioidut bitumit</a:t>
          </a:r>
          <a:endParaRPr lang="en-US"/>
        </a:p>
      </dgm:t>
    </dgm:pt>
    <dgm:pt modelId="{60E853B2-38C3-4C42-96F8-D6E1A095D8A1}" type="parTrans" cxnId="{FDE86886-A510-438B-97F7-99E4D1D6EBF9}">
      <dgm:prSet/>
      <dgm:spPr/>
      <dgm:t>
        <a:bodyPr/>
        <a:lstStyle/>
        <a:p>
          <a:endParaRPr lang="en-US"/>
        </a:p>
      </dgm:t>
    </dgm:pt>
    <dgm:pt modelId="{BB8BA3AB-1712-4969-A5FE-3A66475D0B26}" type="sibTrans" cxnId="{FDE86886-A510-438B-97F7-99E4D1D6EBF9}">
      <dgm:prSet/>
      <dgm:spPr/>
      <dgm:t>
        <a:bodyPr/>
        <a:lstStyle/>
        <a:p>
          <a:endParaRPr lang="en-US"/>
        </a:p>
      </dgm:t>
    </dgm:pt>
    <dgm:pt modelId="{FBE78C50-666C-4092-AACF-6015709CE57E}">
      <dgm:prSet/>
      <dgm:spPr/>
      <dgm:t>
        <a:bodyPr/>
        <a:lstStyle/>
        <a:p>
          <a:r>
            <a:rPr lang="en-GB"/>
            <a:t>SFS-EN 15322:2013 Bitumiliuokset ja fluksatut bitumit</a:t>
          </a:r>
          <a:endParaRPr lang="en-US"/>
        </a:p>
      </dgm:t>
    </dgm:pt>
    <dgm:pt modelId="{67C1395A-46DA-47F8-A740-CDD341045E27}" type="parTrans" cxnId="{F9521C24-46A4-4A75-B804-FF66B4AB34D5}">
      <dgm:prSet/>
      <dgm:spPr/>
      <dgm:t>
        <a:bodyPr/>
        <a:lstStyle/>
        <a:p>
          <a:endParaRPr lang="en-US"/>
        </a:p>
      </dgm:t>
    </dgm:pt>
    <dgm:pt modelId="{FBAC0AC0-10A3-49FD-956A-F942C42E04ED}" type="sibTrans" cxnId="{F9521C24-46A4-4A75-B804-FF66B4AB34D5}">
      <dgm:prSet/>
      <dgm:spPr/>
      <dgm:t>
        <a:bodyPr/>
        <a:lstStyle/>
        <a:p>
          <a:endParaRPr lang="en-US"/>
        </a:p>
      </dgm:t>
    </dgm:pt>
    <dgm:pt modelId="{F989CF4A-9911-4FF9-8C6B-8DD60FB91F6C}" type="pres">
      <dgm:prSet presAssocID="{730058E8-5BE9-41F0-94A2-F983ECFEF88D}" presName="Name0" presStyleCnt="0">
        <dgm:presLayoutVars>
          <dgm:dir/>
          <dgm:animLvl val="lvl"/>
          <dgm:resizeHandles val="exact"/>
        </dgm:presLayoutVars>
      </dgm:prSet>
      <dgm:spPr/>
    </dgm:pt>
    <dgm:pt modelId="{2E614324-E500-42D5-BB60-9286AAEC6DD0}" type="pres">
      <dgm:prSet presAssocID="{8AE638E3-39F1-4857-BDC9-D604866FC78E}" presName="boxAndChildren" presStyleCnt="0"/>
      <dgm:spPr/>
    </dgm:pt>
    <dgm:pt modelId="{1AB0F7D9-CFE2-4494-ADE3-C10849664F70}" type="pres">
      <dgm:prSet presAssocID="{8AE638E3-39F1-4857-BDC9-D604866FC78E}" presName="parentTextBox" presStyleLbl="node1" presStyleIdx="0" presStyleCnt="2"/>
      <dgm:spPr/>
    </dgm:pt>
    <dgm:pt modelId="{BB9CEDB3-EE41-4E53-9F25-E554A44E6974}" type="pres">
      <dgm:prSet presAssocID="{8AE638E3-39F1-4857-BDC9-D604866FC78E}" presName="entireBox" presStyleLbl="node1" presStyleIdx="0" presStyleCnt="2"/>
      <dgm:spPr/>
    </dgm:pt>
    <dgm:pt modelId="{BA930848-20B2-4FC1-B01A-5A12E74F1890}" type="pres">
      <dgm:prSet presAssocID="{8AE638E3-39F1-4857-BDC9-D604866FC78E}" presName="descendantBox" presStyleCnt="0"/>
      <dgm:spPr/>
    </dgm:pt>
    <dgm:pt modelId="{8DF91AD9-4D31-480F-B3D8-ABAA75BA1017}" type="pres">
      <dgm:prSet presAssocID="{7DDF6F20-9705-43C5-9C42-AC521554CB11}" presName="childTextBox" presStyleLbl="fgAccFollowNode1" presStyleIdx="0" presStyleCnt="5">
        <dgm:presLayoutVars>
          <dgm:bulletEnabled val="1"/>
        </dgm:presLayoutVars>
      </dgm:prSet>
      <dgm:spPr/>
    </dgm:pt>
    <dgm:pt modelId="{AE65CB48-F540-430A-AB47-48147E94428D}" type="pres">
      <dgm:prSet presAssocID="{C23E0443-142A-4EB1-89F1-7542385CCD27}" presName="childTextBox" presStyleLbl="fgAccFollowNode1" presStyleIdx="1" presStyleCnt="5">
        <dgm:presLayoutVars>
          <dgm:bulletEnabled val="1"/>
        </dgm:presLayoutVars>
      </dgm:prSet>
      <dgm:spPr/>
    </dgm:pt>
    <dgm:pt modelId="{956E9099-041A-44F5-92A4-C75FFFC4F8D1}" type="pres">
      <dgm:prSet presAssocID="{478DDAE7-3EC8-4793-ADEC-B4B231F849C6}" presName="childTextBox" presStyleLbl="fgAccFollowNode1" presStyleIdx="2" presStyleCnt="5">
        <dgm:presLayoutVars>
          <dgm:bulletEnabled val="1"/>
        </dgm:presLayoutVars>
      </dgm:prSet>
      <dgm:spPr/>
    </dgm:pt>
    <dgm:pt modelId="{40443A8E-7D07-4627-A053-168A329F64A4}" type="pres">
      <dgm:prSet presAssocID="{FBE78C50-666C-4092-AACF-6015709CE57E}" presName="childTextBox" presStyleLbl="fgAccFollowNode1" presStyleIdx="3" presStyleCnt="5">
        <dgm:presLayoutVars>
          <dgm:bulletEnabled val="1"/>
        </dgm:presLayoutVars>
      </dgm:prSet>
      <dgm:spPr/>
    </dgm:pt>
    <dgm:pt modelId="{B462A0BA-10A9-4FC2-808C-65AE6CD533E2}" type="pres">
      <dgm:prSet presAssocID="{F10C9B64-2FC4-4ADF-9C5E-448A9C836CFA}" presName="sp" presStyleCnt="0"/>
      <dgm:spPr/>
    </dgm:pt>
    <dgm:pt modelId="{75F863AD-1852-4D76-96B5-C27B42C17C9E}" type="pres">
      <dgm:prSet presAssocID="{B8A132EA-86E9-407C-8DE3-772AE5A2DC8B}" presName="arrowAndChildren" presStyleCnt="0"/>
      <dgm:spPr/>
    </dgm:pt>
    <dgm:pt modelId="{9C077191-BE70-4F08-92E2-CF823540AB6A}" type="pres">
      <dgm:prSet presAssocID="{B8A132EA-86E9-407C-8DE3-772AE5A2DC8B}" presName="parentTextArrow" presStyleLbl="node1" presStyleIdx="0" presStyleCnt="2"/>
      <dgm:spPr/>
    </dgm:pt>
    <dgm:pt modelId="{96A99371-4B2B-4285-AE54-BB4FDF538323}" type="pres">
      <dgm:prSet presAssocID="{B8A132EA-86E9-407C-8DE3-772AE5A2DC8B}" presName="arrow" presStyleLbl="node1" presStyleIdx="1" presStyleCnt="2" custLinFactNeighborX="1" custLinFactNeighborY="-6456"/>
      <dgm:spPr/>
    </dgm:pt>
    <dgm:pt modelId="{013CACD9-CCEB-4382-B9FE-7F74141413CE}" type="pres">
      <dgm:prSet presAssocID="{B8A132EA-86E9-407C-8DE3-772AE5A2DC8B}" presName="descendantArrow" presStyleCnt="0"/>
      <dgm:spPr/>
    </dgm:pt>
    <dgm:pt modelId="{9B967404-D29A-48ED-A557-C30C704CDF1B}" type="pres">
      <dgm:prSet presAssocID="{AFAD0779-23F6-4A6D-9768-C1245D326FC5}" presName="childTextArrow" presStyleLbl="fgAccFollowNode1" presStyleIdx="4" presStyleCnt="5">
        <dgm:presLayoutVars>
          <dgm:bulletEnabled val="1"/>
        </dgm:presLayoutVars>
      </dgm:prSet>
      <dgm:spPr/>
    </dgm:pt>
  </dgm:ptLst>
  <dgm:cxnLst>
    <dgm:cxn modelId="{F9521C24-46A4-4A75-B804-FF66B4AB34D5}" srcId="{8AE638E3-39F1-4857-BDC9-D604866FC78E}" destId="{FBE78C50-666C-4092-AACF-6015709CE57E}" srcOrd="3" destOrd="0" parTransId="{67C1395A-46DA-47F8-A740-CDD341045E27}" sibTransId="{FBAC0AC0-10A3-49FD-956A-F942C42E04ED}"/>
    <dgm:cxn modelId="{3D782D36-6201-4ABE-AFC5-37928BCA66D1}" type="presOf" srcId="{7DDF6F20-9705-43C5-9C42-AC521554CB11}" destId="{8DF91AD9-4D31-480F-B3D8-ABAA75BA1017}" srcOrd="0" destOrd="0" presId="urn:microsoft.com/office/officeart/2005/8/layout/process4"/>
    <dgm:cxn modelId="{800F0738-37C9-4AE2-943F-3EB5289C9E84}" type="presOf" srcId="{8AE638E3-39F1-4857-BDC9-D604866FC78E}" destId="{BB9CEDB3-EE41-4E53-9F25-E554A44E6974}" srcOrd="1" destOrd="0" presId="urn:microsoft.com/office/officeart/2005/8/layout/process4"/>
    <dgm:cxn modelId="{07A0883B-E90A-4817-8819-681E406127B8}" type="presOf" srcId="{B8A132EA-86E9-407C-8DE3-772AE5A2DC8B}" destId="{96A99371-4B2B-4285-AE54-BB4FDF538323}" srcOrd="1" destOrd="0" presId="urn:microsoft.com/office/officeart/2005/8/layout/process4"/>
    <dgm:cxn modelId="{4D3B3E3C-EB58-40F0-A414-4D4C2AC041A7}" type="presOf" srcId="{AFAD0779-23F6-4A6D-9768-C1245D326FC5}" destId="{9B967404-D29A-48ED-A557-C30C704CDF1B}" srcOrd="0" destOrd="0" presId="urn:microsoft.com/office/officeart/2005/8/layout/process4"/>
    <dgm:cxn modelId="{2EF9CA64-8C53-47FD-A783-21644018AE48}" type="presOf" srcId="{478DDAE7-3EC8-4793-ADEC-B4B231F849C6}" destId="{956E9099-041A-44F5-92A4-C75FFFC4F8D1}" srcOrd="0" destOrd="0" presId="urn:microsoft.com/office/officeart/2005/8/layout/process4"/>
    <dgm:cxn modelId="{FDE86886-A510-438B-97F7-99E4D1D6EBF9}" srcId="{8AE638E3-39F1-4857-BDC9-D604866FC78E}" destId="{478DDAE7-3EC8-4793-ADEC-B4B231F849C6}" srcOrd="2" destOrd="0" parTransId="{60E853B2-38C3-4C42-96F8-D6E1A095D8A1}" sibTransId="{BB8BA3AB-1712-4969-A5FE-3A66475D0B26}"/>
    <dgm:cxn modelId="{0DF0DC8D-A085-4F93-AFC7-D555C79ADF32}" type="presOf" srcId="{FBE78C50-666C-4092-AACF-6015709CE57E}" destId="{40443A8E-7D07-4627-A053-168A329F64A4}" srcOrd="0" destOrd="0" presId="urn:microsoft.com/office/officeart/2005/8/layout/process4"/>
    <dgm:cxn modelId="{7ADF2B91-F925-40B4-B6EC-5CAE6AE35DED}" type="presOf" srcId="{C23E0443-142A-4EB1-89F1-7542385CCD27}" destId="{AE65CB48-F540-430A-AB47-48147E94428D}" srcOrd="0" destOrd="0" presId="urn:microsoft.com/office/officeart/2005/8/layout/process4"/>
    <dgm:cxn modelId="{CED26D95-3238-489E-97D3-2F3EF4D8A675}" type="presOf" srcId="{730058E8-5BE9-41F0-94A2-F983ECFEF88D}" destId="{F989CF4A-9911-4FF9-8C6B-8DD60FB91F6C}" srcOrd="0" destOrd="0" presId="urn:microsoft.com/office/officeart/2005/8/layout/process4"/>
    <dgm:cxn modelId="{487E50BA-9B27-4F17-A56E-562D4FA5BA13}" type="presOf" srcId="{8AE638E3-39F1-4857-BDC9-D604866FC78E}" destId="{1AB0F7D9-CFE2-4494-ADE3-C10849664F70}" srcOrd="0" destOrd="0" presId="urn:microsoft.com/office/officeart/2005/8/layout/process4"/>
    <dgm:cxn modelId="{167753BA-8880-4B99-BAD0-3767E9EFE6A0}" srcId="{8AE638E3-39F1-4857-BDC9-D604866FC78E}" destId="{7DDF6F20-9705-43C5-9C42-AC521554CB11}" srcOrd="0" destOrd="0" parTransId="{F909815E-D54B-44E2-A747-EEFE8DB62360}" sibTransId="{274138DA-41D8-4B9E-93C2-07EBCA9D3984}"/>
    <dgm:cxn modelId="{D47164BC-BF23-4DB2-9FB6-9485DF710E45}" srcId="{730058E8-5BE9-41F0-94A2-F983ECFEF88D}" destId="{B8A132EA-86E9-407C-8DE3-772AE5A2DC8B}" srcOrd="0" destOrd="0" parTransId="{9A65BC8E-280D-429F-9CFE-4C274264E349}" sibTransId="{F10C9B64-2FC4-4ADF-9C5E-448A9C836CFA}"/>
    <dgm:cxn modelId="{E883FCC0-9E5A-446B-9BB3-403055AFB56C}" type="presOf" srcId="{B8A132EA-86E9-407C-8DE3-772AE5A2DC8B}" destId="{9C077191-BE70-4F08-92E2-CF823540AB6A}" srcOrd="0" destOrd="0" presId="urn:microsoft.com/office/officeart/2005/8/layout/process4"/>
    <dgm:cxn modelId="{C9B30AC5-1C19-45DD-BCF2-5880CBC53828}" srcId="{730058E8-5BE9-41F0-94A2-F983ECFEF88D}" destId="{8AE638E3-39F1-4857-BDC9-D604866FC78E}" srcOrd="1" destOrd="0" parTransId="{F966F067-1B2C-487E-B74C-783662C49900}" sibTransId="{A6298FBB-D006-41E7-977C-AC579AA823E5}"/>
    <dgm:cxn modelId="{3C29E6C7-C2F4-4FF3-AC80-2C044150AB5D}" srcId="{8AE638E3-39F1-4857-BDC9-D604866FC78E}" destId="{C23E0443-142A-4EB1-89F1-7542385CCD27}" srcOrd="1" destOrd="0" parTransId="{91380A9F-A76D-4E26-9DEA-6119057FC56A}" sibTransId="{4922728F-8C63-4B8B-9952-62CF0E38E9E2}"/>
    <dgm:cxn modelId="{B7034DEC-ADE0-4707-B28E-54E8EA85A07A}" srcId="{B8A132EA-86E9-407C-8DE3-772AE5A2DC8B}" destId="{AFAD0779-23F6-4A6D-9768-C1245D326FC5}" srcOrd="0" destOrd="0" parTransId="{F67752C2-2BDE-497F-B0D3-07A3B48886F7}" sibTransId="{0240053E-6E6C-4C5A-B9C7-4C7F21BF13AD}"/>
    <dgm:cxn modelId="{33FE5AE7-3A31-4D43-809A-1FD498A4B0C0}" type="presParOf" srcId="{F989CF4A-9911-4FF9-8C6B-8DD60FB91F6C}" destId="{2E614324-E500-42D5-BB60-9286AAEC6DD0}" srcOrd="0" destOrd="0" presId="urn:microsoft.com/office/officeart/2005/8/layout/process4"/>
    <dgm:cxn modelId="{46F48393-621C-488A-B1B5-E49A958DEC82}" type="presParOf" srcId="{2E614324-E500-42D5-BB60-9286AAEC6DD0}" destId="{1AB0F7D9-CFE2-4494-ADE3-C10849664F70}" srcOrd="0" destOrd="0" presId="urn:microsoft.com/office/officeart/2005/8/layout/process4"/>
    <dgm:cxn modelId="{1C5606E8-4E08-4443-9DDD-934CDEBD0000}" type="presParOf" srcId="{2E614324-E500-42D5-BB60-9286AAEC6DD0}" destId="{BB9CEDB3-EE41-4E53-9F25-E554A44E6974}" srcOrd="1" destOrd="0" presId="urn:microsoft.com/office/officeart/2005/8/layout/process4"/>
    <dgm:cxn modelId="{C80A823A-23A0-40C7-8242-86F5FAA8135A}" type="presParOf" srcId="{2E614324-E500-42D5-BB60-9286AAEC6DD0}" destId="{BA930848-20B2-4FC1-B01A-5A12E74F1890}" srcOrd="2" destOrd="0" presId="urn:microsoft.com/office/officeart/2005/8/layout/process4"/>
    <dgm:cxn modelId="{B13A0D40-7370-476D-803C-4788134FAD51}" type="presParOf" srcId="{BA930848-20B2-4FC1-B01A-5A12E74F1890}" destId="{8DF91AD9-4D31-480F-B3D8-ABAA75BA1017}" srcOrd="0" destOrd="0" presId="urn:microsoft.com/office/officeart/2005/8/layout/process4"/>
    <dgm:cxn modelId="{3D244002-F3F4-41B8-95E0-8544D82AE7FA}" type="presParOf" srcId="{BA930848-20B2-4FC1-B01A-5A12E74F1890}" destId="{AE65CB48-F540-430A-AB47-48147E94428D}" srcOrd="1" destOrd="0" presId="urn:microsoft.com/office/officeart/2005/8/layout/process4"/>
    <dgm:cxn modelId="{142AA6BA-2527-4CCA-8C53-C5420E4D41B2}" type="presParOf" srcId="{BA930848-20B2-4FC1-B01A-5A12E74F1890}" destId="{956E9099-041A-44F5-92A4-C75FFFC4F8D1}" srcOrd="2" destOrd="0" presId="urn:microsoft.com/office/officeart/2005/8/layout/process4"/>
    <dgm:cxn modelId="{42B3508B-60AA-49CF-8894-6C4DE7A4AA1B}" type="presParOf" srcId="{BA930848-20B2-4FC1-B01A-5A12E74F1890}" destId="{40443A8E-7D07-4627-A053-168A329F64A4}" srcOrd="3" destOrd="0" presId="urn:microsoft.com/office/officeart/2005/8/layout/process4"/>
    <dgm:cxn modelId="{ACB7F011-906C-43D1-B31F-AFA921C7F366}" type="presParOf" srcId="{F989CF4A-9911-4FF9-8C6B-8DD60FB91F6C}" destId="{B462A0BA-10A9-4FC2-808C-65AE6CD533E2}" srcOrd="1" destOrd="0" presId="urn:microsoft.com/office/officeart/2005/8/layout/process4"/>
    <dgm:cxn modelId="{9B7D084D-E906-4A28-84D3-5BCFAF53EEB6}" type="presParOf" srcId="{F989CF4A-9911-4FF9-8C6B-8DD60FB91F6C}" destId="{75F863AD-1852-4D76-96B5-C27B42C17C9E}" srcOrd="2" destOrd="0" presId="urn:microsoft.com/office/officeart/2005/8/layout/process4"/>
    <dgm:cxn modelId="{F5600BBE-BA96-4E6E-8F87-730A21F8D2F5}" type="presParOf" srcId="{75F863AD-1852-4D76-96B5-C27B42C17C9E}" destId="{9C077191-BE70-4F08-92E2-CF823540AB6A}" srcOrd="0" destOrd="0" presId="urn:microsoft.com/office/officeart/2005/8/layout/process4"/>
    <dgm:cxn modelId="{4AD236AC-C579-492F-A5BA-E80AA7C9B005}" type="presParOf" srcId="{75F863AD-1852-4D76-96B5-C27B42C17C9E}" destId="{96A99371-4B2B-4285-AE54-BB4FDF538323}" srcOrd="1" destOrd="0" presId="urn:microsoft.com/office/officeart/2005/8/layout/process4"/>
    <dgm:cxn modelId="{9AFC1542-5DD7-4C0A-9E2B-6EB3512E5ACB}" type="presParOf" srcId="{75F863AD-1852-4D76-96B5-C27B42C17C9E}" destId="{013CACD9-CCEB-4382-B9FE-7F74141413CE}" srcOrd="2" destOrd="0" presId="urn:microsoft.com/office/officeart/2005/8/layout/process4"/>
    <dgm:cxn modelId="{49CA279C-E2E0-4135-A3B1-ED475B90AF72}" type="presParOf" srcId="{013CACD9-CCEB-4382-B9FE-7F74141413CE}" destId="{9B967404-D29A-48ED-A557-C30C704CDF1B}" srcOrd="0" destOrd="0" presId="urn:microsoft.com/office/officeart/2005/8/layout/process4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B9CEDB3-EE41-4E53-9F25-E554A44E6974}">
      <dsp:nvSpPr>
        <dsp:cNvPr id="0" name=""/>
        <dsp:cNvSpPr/>
      </dsp:nvSpPr>
      <dsp:spPr>
        <a:xfrm>
          <a:off x="0" y="1856876"/>
          <a:ext cx="7281863" cy="1218311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/>
            <a:t>Laatuvaatimukset pohjautuvat eurooppalaisiin yhdenmukaistettuihin tuotestandardeihin</a:t>
          </a:r>
          <a:endParaRPr lang="en-US" sz="1600" kern="1200"/>
        </a:p>
      </dsp:txBody>
      <dsp:txXfrm>
        <a:off x="0" y="1856876"/>
        <a:ext cx="7281863" cy="657888"/>
      </dsp:txXfrm>
    </dsp:sp>
    <dsp:sp modelId="{8DF91AD9-4D31-480F-B3D8-ABAA75BA1017}">
      <dsp:nvSpPr>
        <dsp:cNvPr id="0" name=""/>
        <dsp:cNvSpPr/>
      </dsp:nvSpPr>
      <dsp:spPr>
        <a:xfrm>
          <a:off x="0" y="2490398"/>
          <a:ext cx="1820465" cy="560423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456" tIns="16510" rIns="92456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300" kern="1200"/>
            <a:t>SFS-EN 12591:2009 Tiebitumit</a:t>
          </a:r>
          <a:endParaRPr lang="en-US" sz="1300" kern="1200"/>
        </a:p>
      </dsp:txBody>
      <dsp:txXfrm>
        <a:off x="0" y="2490398"/>
        <a:ext cx="1820465" cy="560423"/>
      </dsp:txXfrm>
    </dsp:sp>
    <dsp:sp modelId="{AE65CB48-F540-430A-AB47-48147E94428D}">
      <dsp:nvSpPr>
        <dsp:cNvPr id="0" name=""/>
        <dsp:cNvSpPr/>
      </dsp:nvSpPr>
      <dsp:spPr>
        <a:xfrm>
          <a:off x="1820465" y="2490398"/>
          <a:ext cx="1820465" cy="560423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456" tIns="16510" rIns="92456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300" kern="1200"/>
            <a:t>SFS-EN 13808:2013 Kationiset bitumiemulsiot</a:t>
          </a:r>
          <a:endParaRPr lang="en-US" sz="1300" kern="1200"/>
        </a:p>
      </dsp:txBody>
      <dsp:txXfrm>
        <a:off x="1820465" y="2490398"/>
        <a:ext cx="1820465" cy="560423"/>
      </dsp:txXfrm>
    </dsp:sp>
    <dsp:sp modelId="{956E9099-041A-44F5-92A4-C75FFFC4F8D1}">
      <dsp:nvSpPr>
        <dsp:cNvPr id="0" name=""/>
        <dsp:cNvSpPr/>
      </dsp:nvSpPr>
      <dsp:spPr>
        <a:xfrm>
          <a:off x="3640931" y="2490398"/>
          <a:ext cx="1820465" cy="560423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456" tIns="16510" rIns="92456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300" kern="1200"/>
            <a:t>SFS-EN 14023:2010 Polymeerimodifioidut bitumit</a:t>
          </a:r>
          <a:endParaRPr lang="en-US" sz="1300" kern="1200"/>
        </a:p>
      </dsp:txBody>
      <dsp:txXfrm>
        <a:off x="3640931" y="2490398"/>
        <a:ext cx="1820465" cy="560423"/>
      </dsp:txXfrm>
    </dsp:sp>
    <dsp:sp modelId="{40443A8E-7D07-4627-A053-168A329F64A4}">
      <dsp:nvSpPr>
        <dsp:cNvPr id="0" name=""/>
        <dsp:cNvSpPr/>
      </dsp:nvSpPr>
      <dsp:spPr>
        <a:xfrm>
          <a:off x="5461397" y="2490398"/>
          <a:ext cx="1820465" cy="560423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456" tIns="16510" rIns="92456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300" kern="1200"/>
            <a:t>SFS-EN 15322:2013 Bitumiliuokset ja fluksatut bitumit</a:t>
          </a:r>
          <a:endParaRPr lang="en-US" sz="1300" kern="1200"/>
        </a:p>
      </dsp:txBody>
      <dsp:txXfrm>
        <a:off x="5461397" y="2490398"/>
        <a:ext cx="1820465" cy="560423"/>
      </dsp:txXfrm>
    </dsp:sp>
    <dsp:sp modelId="{96A99371-4B2B-4285-AE54-BB4FDF538323}">
      <dsp:nvSpPr>
        <dsp:cNvPr id="0" name=""/>
        <dsp:cNvSpPr/>
      </dsp:nvSpPr>
      <dsp:spPr>
        <a:xfrm rot="10800000">
          <a:off x="0" y="0"/>
          <a:ext cx="7281863" cy="1873763"/>
        </a:xfrm>
        <a:prstGeom prst="upArrowCallou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600" kern="1200"/>
            <a:t>Asfalttipäällysteiden sideaineet ovat CE-merkittyjä rakennustuotteita</a:t>
          </a:r>
          <a:endParaRPr lang="en-US" sz="1600" kern="1200"/>
        </a:p>
      </dsp:txBody>
      <dsp:txXfrm rot="-10800000">
        <a:off x="0" y="0"/>
        <a:ext cx="7281863" cy="657690"/>
      </dsp:txXfrm>
    </dsp:sp>
    <dsp:sp modelId="{9B967404-D29A-48ED-A557-C30C704CDF1B}">
      <dsp:nvSpPr>
        <dsp:cNvPr id="0" name=""/>
        <dsp:cNvSpPr/>
      </dsp:nvSpPr>
      <dsp:spPr>
        <a:xfrm>
          <a:off x="0" y="659078"/>
          <a:ext cx="7281863" cy="560255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456" tIns="16510" rIns="92456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300" kern="1200"/>
            <a:t>AVCP-luokka 2+ (ilmoitetun laitoksen tarkastustoiminta)</a:t>
          </a:r>
          <a:endParaRPr lang="en-US" sz="1300" kern="1200"/>
        </a:p>
      </dsp:txBody>
      <dsp:txXfrm>
        <a:off x="0" y="659078"/>
        <a:ext cx="7281863" cy="56025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4">
  <dgm:title val=""/>
  <dgm:desc val=""/>
  <dgm:catLst>
    <dgm:cat type="process" pri="16000"/>
    <dgm:cat type="list" pri="2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lin">
      <dgm:param type="linDir" val="fromB"/>
    </dgm:alg>
    <dgm:shape xmlns:r="http://schemas.openxmlformats.org/officeDocument/2006/relationships" r:blip="">
      <dgm:adjLst/>
    </dgm:shape>
    <dgm:presOf/>
    <dgm:constrLst>
      <dgm:constr type="h" for="ch" forName="boxAndChildren" refType="h"/>
      <dgm:constr type="h" for="ch" forName="arrowAndChildren" refType="h" refFor="ch" refForName="boxAndChildren" op="equ" fact="1.538"/>
      <dgm:constr type="w" for="ch" forName="arrowAndChildren" refType="w"/>
      <dgm:constr type="w" for="ch" forName="boxAndChildren" refType="w"/>
      <dgm:constr type="h" for="ch" forName="sp" refType="h" fact="-0.015"/>
      <dgm:constr type="primFontSz" for="des" forName="parentTextBox" val="65"/>
      <dgm:constr type="primFontSz" for="des" forName="parentTextArrow" refType="primFontSz" refFor="des" refForName="parentTextBox" op="equ"/>
      <dgm:constr type="primFontSz" for="des" forName="childTextArrow" val="65"/>
      <dgm:constr type="primFontSz" for="des" forName="childTextBox" refType="primFontSz" refFor="des" refForName="childTextArrow" op="equ"/>
    </dgm:constrLst>
    <dgm:ruleLst/>
    <dgm:forEach name="Name1" axis="ch" ptType="node" st="-1" step="-1">
      <dgm:choose name="Name2">
        <dgm:if name="Name3" axis="self" ptType="node" func="revPos" op="equ" val="1">
          <dgm:layoutNode name="boxAndChildren">
            <dgm:alg type="composite"/>
            <dgm:shape xmlns:r="http://schemas.openxmlformats.org/officeDocument/2006/relationships" r:blip="">
              <dgm:adjLst/>
            </dgm:shape>
            <dgm:presOf/>
            <dgm:choose name="Name4">
              <dgm:if name="Name5" axis="ch" ptType="node" func="cnt" op="gte" val="1">
                <dgm:constrLst>
                  <dgm:constr type="w" for="ch" forName="parentTextBox" refType="w"/>
                  <dgm:constr type="h" for="ch" forName="parentTextBox" refType="h" fact="0.54"/>
                  <dgm:constr type="t" for="ch" forName="parentTextBox"/>
                  <dgm:constr type="w" for="ch" forName="entireBox" refType="w"/>
                  <dgm:constr type="h" for="ch" forName="entireBox" refType="h"/>
                  <dgm:constr type="w" for="ch" forName="descendantBox" refType="w"/>
                  <dgm:constr type="b" for="ch" forName="descendantBox" refType="h" fact="0.98"/>
                  <dgm:constr type="h" for="ch" forName="descendantBox" refType="h" fact="0.46"/>
                </dgm:constrLst>
              </dgm:if>
              <dgm:else name="Name6">
                <dgm:constrLst>
                  <dgm:constr type="w" for="ch" forName="parentTextBox" refType="w"/>
                  <dgm:constr type="h" for="ch" forName="parentTextBox" refType="h"/>
                </dgm:constrLst>
              </dgm:else>
            </dgm:choose>
            <dgm:ruleLst/>
            <dgm:layoutNode name="parentTextBox">
              <dgm:alg type="tx"/>
              <dgm:choose name="Name7">
                <dgm:if name="Name8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9">
                  <dgm:shape xmlns:r="http://schemas.openxmlformats.org/officeDocument/2006/relationships" type="rec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10">
              <dgm:if name="Name11" axis="ch" ptType="node" func="cnt" op="gte" val="1">
                <dgm:layoutNode name="entireBox">
                  <dgm:alg type="sp"/>
                  <dgm:shape xmlns:r="http://schemas.openxmlformats.org/officeDocument/2006/relationships" type="rect" r:blip="">
                    <dgm:adjLst/>
                  </dgm:shape>
                  <dgm:presOf axis="self"/>
                  <dgm:constrLst/>
                  <dgm:ruleLst/>
                </dgm:layoutNode>
                <dgm:layoutNode name="descendantBox" styleLbl="fgAccFollowNode1">
                  <dgm:choose name="Name12">
                    <dgm:if name="Name13" func="var" arg="dir" op="equ" val="norm">
                      <dgm:alg type="lin"/>
                    </dgm:if>
                    <dgm:else name="Name14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Box" refType="w"/>
                    <dgm:constr type="h" for="ch" forName="childTextBox" refType="h"/>
                  </dgm:constrLst>
                  <dgm:ruleLst/>
                  <dgm:forEach name="Name15" axis="ch" ptType="node">
                    <dgm:layoutNode name="childTextBox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16"/>
            </dgm:choose>
          </dgm:layoutNode>
        </dgm:if>
        <dgm:else name="Name17">
          <dgm:layoutNode name="arrowAndChildren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axis="ch" ptType="node" func="cnt" op="gte" val="1">
                <dgm:constrLst>
                  <dgm:constr type="w" for="ch" forName="parentTextArrow" refType="w"/>
                  <dgm:constr type="t" for="ch" forName="parentTextArrow"/>
                  <dgm:constr type="h" for="ch" forName="parentTextArrow" refType="h" fact="0.351"/>
                  <dgm:constr type="w" for="ch" forName="arrow" refType="w"/>
                  <dgm:constr type="h" for="ch" forName="arrow" refType="h"/>
                  <dgm:constr type="w" for="ch" forName="descendantArrow" refType="w"/>
                  <dgm:constr type="b" for="ch" forName="descendantArrow" refType="h" fact="0.65"/>
                  <dgm:constr type="h" for="ch" forName="descendantArrow" refType="h" fact="0.299"/>
                </dgm:constrLst>
              </dgm:if>
              <dgm:else name="Name20">
                <dgm:constrLst>
                  <dgm:constr type="w" for="ch" forName="parentTextArrow" refType="w"/>
                  <dgm:constr type="h" for="ch" forName="parentTextArrow" refType="h"/>
                </dgm:constrLst>
              </dgm:else>
            </dgm:choose>
            <dgm:ruleLst/>
            <dgm:layoutNode name="parentTextArrow">
              <dgm:alg type="tx"/>
              <dgm:choose name="Name21">
                <dgm:if name="Name22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23">
                  <dgm:shape xmlns:r="http://schemas.openxmlformats.org/officeDocument/2006/relationships" rot="180" type="upArrowCallou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24">
              <dgm:if name="Name25" axis="ch" ptType="node" func="cnt" op="gte" val="1">
                <dgm:layoutNode name="arrow">
                  <dgm:alg type="sp"/>
                  <dgm:shape xmlns:r="http://schemas.openxmlformats.org/officeDocument/2006/relationships" rot="180" type="upArrowCallout" r:blip="">
                    <dgm:adjLst/>
                  </dgm:shape>
                  <dgm:presOf axis="self"/>
                  <dgm:constrLst/>
                  <dgm:ruleLst/>
                </dgm:layoutNode>
                <dgm:layoutNode name="descendantArrow">
                  <dgm:choose name="Name26">
                    <dgm:if name="Name27" func="var" arg="dir" op="equ" val="norm">
                      <dgm:alg type="lin"/>
                    </dgm:if>
                    <dgm:else name="Name28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Arrow" refType="w"/>
                    <dgm:constr type="h" for="ch" forName="childTextArrow" refType="h"/>
                  </dgm:constrLst>
                  <dgm:ruleLst/>
                  <dgm:forEach name="Name29" axis="ch" ptType="node">
                    <dgm:layoutNode name="childTextArrow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30"/>
            </dgm:choose>
          </dgm:layoutNode>
        </dgm:else>
      </dgm:choose>
      <dgm:forEach name="Name31" axis="precedSib" ptType="sibTrans" st="-1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3" name="Platshållare för datum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A6FF2E-F5F3-4113-BC72-B514C7540812}" type="datetimeFigureOut">
              <a:rPr lang="sv-SE" smtClean="0">
                <a:latin typeface="Arial" charset="0"/>
                <a:ea typeface="Arial" charset="0"/>
                <a:cs typeface="Arial" charset="0"/>
              </a:rPr>
              <a:pPr/>
              <a:t>2023-03-15</a:t>
            </a:fld>
            <a:endParaRPr lang="sv-SE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4934646-D2ED-43DF-B392-23B4CD9D8986}" type="slidenum">
              <a:rPr lang="sv-SE" smtClean="0">
                <a:latin typeface="Arial" charset="0"/>
                <a:ea typeface="Arial" charset="0"/>
                <a:cs typeface="Arial" charset="0"/>
              </a:rPr>
              <a:pPr/>
              <a:t>‹#›</a:t>
            </a:fld>
            <a:endParaRPr lang="sv-SE"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49881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en-GB" dirty="0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charset="0"/>
                <a:ea typeface="Arial" charset="0"/>
                <a:cs typeface="Arial" charset="0"/>
              </a:defRPr>
            </a:lvl1pPr>
          </a:lstStyle>
          <a:p>
            <a:fld id="{A71D0ADF-5E56-46B7-89C9-8A8151BDBE29}" type="datetimeFigureOut">
              <a:rPr lang="en-GB" smtClean="0"/>
              <a:pPr/>
              <a:t>15/03/2023</a:t>
            </a:fld>
            <a:endParaRPr lang="en-GB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en-GB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charset="0"/>
                <a:ea typeface="Arial" charset="0"/>
                <a:cs typeface="Arial" charset="0"/>
              </a:defRPr>
            </a:lvl1pPr>
          </a:lstStyle>
          <a:p>
            <a:fld id="{23180E15-C677-4799-B5F2-5413DD650E4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1639006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685800" rtl="0" eaLnBrk="1" latinLnBrk="0" hangingPunct="1">
      <a:defRPr sz="900" kern="1200">
        <a:solidFill>
          <a:schemeClr val="tx1"/>
        </a:solidFill>
        <a:latin typeface="Arial" charset="0"/>
        <a:ea typeface="Arial" charset="0"/>
        <a:cs typeface="Arial" charset="0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180E15-C677-4799-B5F2-5413DD650E45}" type="slidenum">
              <a:rPr lang="en-GB" smtClean="0"/>
              <a:pPr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351589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i-FI" dirty="0"/>
              <a:t>Uusimmatkin standardit ovat jo 10v vanhoja, vaikka revisioväliksi on ajateltu 5v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180E15-C677-4799-B5F2-5413DD650E45}" type="slidenum">
              <a:rPr lang="en-GB" smtClean="0"/>
              <a:pPr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6887852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180E15-C677-4799-B5F2-5413DD650E45}" type="slidenum">
              <a:rPr lang="en-GB" smtClean="0"/>
              <a:pPr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077598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i-FI" dirty="0">
                <a:sym typeface="Wingdings" panose="05000000000000000000" pitchFamily="2" charset="2"/>
              </a:rPr>
              <a:t>Onnistunut linjasekoittaminen mahdollistaa </a:t>
            </a:r>
            <a:r>
              <a:rPr lang="fi-FI" dirty="0" err="1">
                <a:sym typeface="Wingdings" panose="05000000000000000000" pitchFamily="2" charset="2"/>
              </a:rPr>
              <a:t>tunkeumaltaan</a:t>
            </a:r>
            <a:r>
              <a:rPr lang="fi-FI" dirty="0">
                <a:sym typeface="Wingdings" panose="05000000000000000000" pitchFamily="2" charset="2"/>
              </a:rPr>
              <a:t>/viskositeetiltaan tasalaatuisen tuotteen jakelun</a:t>
            </a:r>
          </a:p>
          <a:p>
            <a:endParaRPr lang="fi-FI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180E15-C677-4799-B5F2-5413DD650E45}" type="slidenum">
              <a:rPr lang="en-GB" smtClean="0"/>
              <a:pPr/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0393261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i-FI" dirty="0"/>
              <a:t>Kvartsi, kalimaasälpä ja kiilteet happamuutta lisääviä yleisiä mineraaleja</a:t>
            </a:r>
          </a:p>
          <a:p>
            <a:r>
              <a:rPr lang="fi-FI" dirty="0"/>
              <a:t>Kiilteillä on haitallinen vaikutus myös pinnan tasaisuuden vuoksi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180E15-C677-4799-B5F2-5413DD650E45}" type="slidenum">
              <a:rPr lang="en-GB" smtClean="0"/>
              <a:pPr/>
              <a:t>2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2087344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i-FI" dirty="0" err="1"/>
              <a:t>Cesare</a:t>
            </a:r>
            <a:r>
              <a:rPr lang="fi-FI" dirty="0"/>
              <a:t> </a:t>
            </a:r>
            <a:r>
              <a:rPr lang="fi-FI" dirty="0" err="1"/>
              <a:t>Oliviero</a:t>
            </a:r>
            <a:r>
              <a:rPr lang="fi-FI" dirty="0"/>
              <a:t> Rossi, </a:t>
            </a:r>
            <a:r>
              <a:rPr lang="fi-FI" dirty="0" err="1"/>
              <a:t>Bagdat</a:t>
            </a:r>
            <a:r>
              <a:rPr lang="fi-FI" dirty="0"/>
              <a:t> </a:t>
            </a:r>
            <a:r>
              <a:rPr lang="fi-FI" dirty="0" err="1"/>
              <a:t>Teltayev</a:t>
            </a:r>
            <a:r>
              <a:rPr lang="fi-FI" dirty="0"/>
              <a:t>, </a:t>
            </a:r>
            <a:r>
              <a:rPr lang="fi-FI" dirty="0" err="1"/>
              <a:t>Ruggero</a:t>
            </a:r>
            <a:r>
              <a:rPr lang="fi-FI" dirty="0"/>
              <a:t> </a:t>
            </a:r>
            <a:r>
              <a:rPr lang="fi-FI" dirty="0" err="1"/>
              <a:t>Angelico</a:t>
            </a:r>
            <a:r>
              <a:rPr lang="fi-FI" dirty="0"/>
              <a:t>. </a:t>
            </a:r>
            <a:r>
              <a:rPr lang="en-US" dirty="0"/>
              <a:t>Adhesion Promoters in Bituminous Road Materials: A Review, Applied Sciences 2017, 7, 524</a:t>
            </a:r>
            <a:endParaRPr lang="fi-FI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180E15-C677-4799-B5F2-5413DD650E45}" type="slidenum">
              <a:rPr lang="en-GB" smtClean="0"/>
              <a:pPr/>
              <a:t>2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098964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i-FI" dirty="0"/>
              <a:t>Hiilivety ketju, joka on yhteensopiva bitumin kanssa, ja polaarinen </a:t>
            </a:r>
            <a:r>
              <a:rPr lang="fi-FI" dirty="0" err="1"/>
              <a:t>silaaniryhmä</a:t>
            </a:r>
            <a:r>
              <a:rPr lang="fi-FI" dirty="0"/>
              <a:t>, joka on taipuvainen kiinnittymään kiviaineksen pintaa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180E15-C677-4799-B5F2-5413DD650E45}" type="slidenum">
              <a:rPr lang="en-GB" smtClean="0"/>
              <a:pPr/>
              <a:t>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175691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21.jpeg"/><Relationship Id="rId4" Type="http://schemas.openxmlformats.org/officeDocument/2006/relationships/image" Target="../media/image20.emf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lt. front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objekt 5" descr="Nynas_logo.png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57221" y="4000312"/>
            <a:ext cx="1628775" cy="1143188"/>
          </a:xfrm>
          <a:prstGeom prst="rect">
            <a:avLst/>
          </a:prstGeom>
        </p:spPr>
      </p:pic>
      <p:sp>
        <p:nvSpPr>
          <p:cNvPr id="7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152400" y="130159"/>
            <a:ext cx="8833596" cy="3715953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 anchorCtr="1"/>
          <a:lstStyle>
            <a:lvl1pPr marL="0" indent="0" algn="ctr">
              <a:buFontTx/>
              <a:buNone/>
              <a:defRPr/>
            </a:lvl1pPr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GB" noProof="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0317693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437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 w pi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tshållare för innehåll 7"/>
          <p:cNvSpPr>
            <a:spLocks noGrp="1"/>
          </p:cNvSpPr>
          <p:nvPr>
            <p:ph sz="quarter" idx="16" hasCustomPrompt="1"/>
          </p:nvPr>
        </p:nvSpPr>
        <p:spPr>
          <a:xfrm>
            <a:off x="432000" y="1080000"/>
            <a:ext cx="5037361" cy="3456000"/>
          </a:xfrm>
        </p:spPr>
        <p:txBody>
          <a:bodyPr/>
          <a:lstStyle>
            <a:lvl1pPr>
              <a:defRPr>
                <a:solidFill>
                  <a:srgbClr val="3C3C3C"/>
                </a:solidFill>
              </a:defRPr>
            </a:lvl1pPr>
            <a:lvl2pPr marL="336947" marR="0" indent="-158354" algn="l" defTabSz="6858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FD500"/>
              </a:buClr>
              <a:buSzPct val="110000"/>
              <a:buFont typeface="Arial" pitchFamily="34" charset="0"/>
              <a:buChar char="•"/>
              <a:tabLst/>
              <a:defRPr lang="sv-SE" baseline="0" smtClean="0">
                <a:solidFill>
                  <a:srgbClr val="3C3C3C"/>
                </a:solidFill>
              </a:defRPr>
            </a:lvl2pPr>
            <a:lvl3pPr>
              <a:buClr>
                <a:srgbClr val="FFD500"/>
              </a:buClr>
              <a:defRPr>
                <a:solidFill>
                  <a:srgbClr val="3C3C3C"/>
                </a:solidFill>
              </a:defRPr>
            </a:lvl3pPr>
            <a:lvl4pPr>
              <a:buClr>
                <a:srgbClr val="FFD500"/>
              </a:buClr>
              <a:defRPr>
                <a:solidFill>
                  <a:srgbClr val="3C3C3C"/>
                </a:solidFill>
              </a:defRPr>
            </a:lvl4pPr>
            <a:lvl5pPr>
              <a:buClr>
                <a:srgbClr val="FFD500"/>
              </a:buClr>
              <a:defRPr>
                <a:solidFill>
                  <a:srgbClr val="3C3C3C"/>
                </a:solidFill>
              </a:defRPr>
            </a:lvl5pPr>
          </a:lstStyle>
          <a:p>
            <a:pPr lvl="0"/>
            <a:r>
              <a:rPr lang="en-GB" noProof="0" dirty="0"/>
              <a:t>Bullet point</a:t>
            </a:r>
          </a:p>
          <a:p>
            <a:pPr lvl="1"/>
            <a:r>
              <a:rPr lang="en-GB" noProof="0" dirty="0"/>
              <a:t>Bullet point subcategory</a:t>
            </a:r>
          </a:p>
          <a:p>
            <a:pPr lvl="2"/>
            <a:r>
              <a:rPr lang="en-GB" noProof="0" dirty="0"/>
              <a:t>Bullet point subcategory</a:t>
            </a:r>
          </a:p>
          <a:p>
            <a:pPr lvl="3"/>
            <a:r>
              <a:rPr lang="en-GB" noProof="0" dirty="0"/>
              <a:t>Bullet point subcategory</a:t>
            </a:r>
          </a:p>
          <a:p>
            <a:pPr lvl="4"/>
            <a:r>
              <a:rPr lang="en-GB" noProof="0" dirty="0"/>
              <a:t>Bullet point subcategory</a:t>
            </a:r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 hasCustomPrompt="1"/>
          </p:nvPr>
        </p:nvSpPr>
        <p:spPr>
          <a:xfrm>
            <a:off x="5798503" y="1073945"/>
            <a:ext cx="2914845" cy="3470034"/>
          </a:xfrm>
        </p:spPr>
        <p:txBody>
          <a:bodyPr anchor="ctr" anchorCtr="0"/>
          <a:lstStyle>
            <a:lvl1pPr algn="ctr">
              <a:buFont typeface="Arial" pitchFamily="34" charset="0"/>
              <a:buNone/>
              <a:defRPr/>
            </a:lvl1pPr>
          </a:lstStyle>
          <a:p>
            <a:r>
              <a:rPr lang="en-GB" noProof="0" dirty="0"/>
              <a:t> </a:t>
            </a:r>
          </a:p>
        </p:txBody>
      </p:sp>
      <p:sp>
        <p:nvSpPr>
          <p:cNvPr id="11" name="Rubrik 1"/>
          <p:cNvSpPr>
            <a:spLocks noGrp="1"/>
          </p:cNvSpPr>
          <p:nvPr>
            <p:ph type="title" hasCustomPrompt="1"/>
          </p:nvPr>
        </p:nvSpPr>
        <p:spPr>
          <a:xfrm>
            <a:off x="432001" y="405000"/>
            <a:ext cx="7281749" cy="432000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er</a:t>
            </a:r>
          </a:p>
        </p:txBody>
      </p:sp>
      <p:sp>
        <p:nvSpPr>
          <p:cNvPr id="10" name="Platshållare för bildnummer 5">
            <a:extLst>
              <a:ext uri="{FF2B5EF4-FFF2-40B4-BE49-F238E27FC236}">
                <a16:creationId xmlns:a16="http://schemas.microsoft.com/office/drawing/2014/main" id="{73BEFB8A-384F-489A-8A44-5EA42FDA55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32000" y="4830367"/>
            <a:ext cx="434242" cy="23661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lang="sv-SE" sz="600" smtClean="0">
                <a:solidFill>
                  <a:srgbClr val="3C3C3C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1A49F53B-68F7-402D-8883-CC8AD69B34F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Rectangle 4">
            <a:extLst>
              <a:ext uri="{FF2B5EF4-FFF2-40B4-BE49-F238E27FC236}">
                <a16:creationId xmlns:a16="http://schemas.microsoft.com/office/drawing/2014/main" id="{00696BCC-22B6-4BAF-880B-049A30CFFDD6}"/>
              </a:ext>
            </a:extLst>
          </p:cNvPr>
          <p:cNvSpPr>
            <a:spLocks noGrp="1" noChangeArrowheads="1"/>
          </p:cNvSpPr>
          <p:nvPr>
            <p:ph type="dt" sz="half" idx="2"/>
          </p:nvPr>
        </p:nvSpPr>
        <p:spPr>
          <a:xfrm>
            <a:off x="7805739" y="4794250"/>
            <a:ext cx="881062" cy="27272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sv-SE" sz="600" smtClean="0">
                <a:solidFill>
                  <a:srgbClr val="3C3C3C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/>
              <a:t>15 March, 2023</a:t>
            </a:r>
            <a:endParaRPr lang="en-GB" dirty="0"/>
          </a:p>
        </p:txBody>
      </p:sp>
      <p:sp>
        <p:nvSpPr>
          <p:cNvPr id="13" name="Platshållare för sidfot 4">
            <a:extLst>
              <a:ext uri="{FF2B5EF4-FFF2-40B4-BE49-F238E27FC236}">
                <a16:creationId xmlns:a16="http://schemas.microsoft.com/office/drawing/2014/main" id="{F402E31B-8C26-458A-B883-42D2DA1CE8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59860" y="4794250"/>
            <a:ext cx="6153890" cy="27272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lang="en-GB" sz="600" dirty="0">
                <a:solidFill>
                  <a:srgbClr val="3C3C3C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©2023 Nynas. All rights reserved.</a:t>
            </a:r>
            <a:endParaRPr lang="sv-SE" dirty="0"/>
          </a:p>
        </p:txBody>
      </p:sp>
    </p:spTree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 w pi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>
            <a:extLst>
              <a:ext uri="{FF2B5EF4-FFF2-40B4-BE49-F238E27FC236}">
                <a16:creationId xmlns:a16="http://schemas.microsoft.com/office/drawing/2014/main" id="{3EA7E622-462B-49A4-910E-ED2E65CA188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61786" b="18980"/>
          <a:stretch/>
        </p:blipFill>
        <p:spPr>
          <a:xfrm>
            <a:off x="0" y="3030103"/>
            <a:ext cx="9144000" cy="2113397"/>
          </a:xfrm>
          <a:prstGeom prst="rect">
            <a:avLst/>
          </a:prstGeom>
        </p:spPr>
      </p:pic>
      <p:sp>
        <p:nvSpPr>
          <p:cNvPr id="10" name="Platshållare för bildnummer 5">
            <a:extLst>
              <a:ext uri="{FF2B5EF4-FFF2-40B4-BE49-F238E27FC236}">
                <a16:creationId xmlns:a16="http://schemas.microsoft.com/office/drawing/2014/main" id="{73BEFB8A-384F-489A-8A44-5EA42FDA55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32000" y="4830367"/>
            <a:ext cx="434242" cy="23661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lang="sv-SE" sz="600" smtClean="0">
                <a:solidFill>
                  <a:srgbClr val="3C3C3C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1A49F53B-68F7-402D-8883-CC8AD69B34F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Platshållare för sidfot 4">
            <a:extLst>
              <a:ext uri="{FF2B5EF4-FFF2-40B4-BE49-F238E27FC236}">
                <a16:creationId xmlns:a16="http://schemas.microsoft.com/office/drawing/2014/main" id="{F402E31B-8C26-458A-B883-42D2DA1CE8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59860" y="4794250"/>
            <a:ext cx="6153890" cy="27272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lang="en-GB" sz="600" dirty="0">
                <a:solidFill>
                  <a:srgbClr val="3C3C3C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©2023 Nynas. All rights reserved.</a:t>
            </a:r>
            <a:endParaRPr lang="sv-SE" dirty="0"/>
          </a:p>
        </p:txBody>
      </p:sp>
      <p:sp>
        <p:nvSpPr>
          <p:cNvPr id="11" name="Rubrik 1"/>
          <p:cNvSpPr>
            <a:spLocks noGrp="1"/>
          </p:cNvSpPr>
          <p:nvPr>
            <p:ph type="title" hasCustomPrompt="1"/>
          </p:nvPr>
        </p:nvSpPr>
        <p:spPr>
          <a:xfrm>
            <a:off x="432001" y="405000"/>
            <a:ext cx="7281749" cy="432000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er</a:t>
            </a:r>
          </a:p>
        </p:txBody>
      </p:sp>
      <p:sp>
        <p:nvSpPr>
          <p:cNvPr id="12" name="Rectangle 4">
            <a:extLst>
              <a:ext uri="{FF2B5EF4-FFF2-40B4-BE49-F238E27FC236}">
                <a16:creationId xmlns:a16="http://schemas.microsoft.com/office/drawing/2014/main" id="{00696BCC-22B6-4BAF-880B-049A30CFFDD6}"/>
              </a:ext>
            </a:extLst>
          </p:cNvPr>
          <p:cNvSpPr>
            <a:spLocks noGrp="1" noChangeArrowheads="1"/>
          </p:cNvSpPr>
          <p:nvPr>
            <p:ph type="dt" sz="half" idx="2"/>
          </p:nvPr>
        </p:nvSpPr>
        <p:spPr>
          <a:xfrm>
            <a:off x="7805739" y="4794250"/>
            <a:ext cx="881062" cy="27272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 lang="en-GB" smtClean="0"/>
            </a:lvl1pPr>
          </a:lstStyle>
          <a:p>
            <a:pPr algn="l"/>
            <a:r>
              <a:rPr lang="en-GB"/>
              <a:t>15 March, 2023</a:t>
            </a:r>
            <a:endParaRPr lang="sv-SE" dirty="0"/>
          </a:p>
        </p:txBody>
      </p:sp>
      <p:sp>
        <p:nvSpPr>
          <p:cNvPr id="8" name="Platshållare för innehåll 7">
            <a:extLst>
              <a:ext uri="{FF2B5EF4-FFF2-40B4-BE49-F238E27FC236}">
                <a16:creationId xmlns:a16="http://schemas.microsoft.com/office/drawing/2014/main" id="{D6BDE31C-AD54-476B-AD42-9C9FB8CC3D91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32001" y="1080000"/>
            <a:ext cx="7281749" cy="3076364"/>
          </a:xfrm>
        </p:spPr>
        <p:txBody>
          <a:bodyPr/>
          <a:lstStyle>
            <a:lvl1pPr>
              <a:defRPr>
                <a:solidFill>
                  <a:srgbClr val="3C3C3C"/>
                </a:solidFill>
              </a:defRPr>
            </a:lvl1pPr>
            <a:lvl2pPr marL="336947" marR="0" indent="-158354" algn="l" defTabSz="6858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FD500"/>
              </a:buClr>
              <a:buSzPct val="110000"/>
              <a:buFont typeface="Arial" pitchFamily="34" charset="0"/>
              <a:buChar char="•"/>
              <a:tabLst/>
              <a:defRPr lang="sv-SE" baseline="0" smtClean="0">
                <a:solidFill>
                  <a:srgbClr val="3C3C3C"/>
                </a:solidFill>
              </a:defRPr>
            </a:lvl2pPr>
            <a:lvl3pPr>
              <a:buClr>
                <a:srgbClr val="FFD500"/>
              </a:buClr>
              <a:defRPr>
                <a:solidFill>
                  <a:srgbClr val="3C3C3C"/>
                </a:solidFill>
              </a:defRPr>
            </a:lvl3pPr>
            <a:lvl4pPr>
              <a:buClr>
                <a:srgbClr val="FFD500"/>
              </a:buClr>
              <a:defRPr>
                <a:solidFill>
                  <a:srgbClr val="3C3C3C"/>
                </a:solidFill>
              </a:defRPr>
            </a:lvl4pPr>
            <a:lvl5pPr>
              <a:buClr>
                <a:srgbClr val="FFD500"/>
              </a:buClr>
              <a:defRPr>
                <a:solidFill>
                  <a:srgbClr val="3C3C3C"/>
                </a:solidFill>
              </a:defRPr>
            </a:lvl5pPr>
          </a:lstStyle>
          <a:p>
            <a:pPr lvl="0"/>
            <a:r>
              <a:rPr lang="en-GB" noProof="0" dirty="0"/>
              <a:t>Bullet point</a:t>
            </a:r>
          </a:p>
          <a:p>
            <a:pPr lvl="1"/>
            <a:r>
              <a:rPr lang="en-GB" noProof="0" dirty="0"/>
              <a:t>Bullet point subcategory</a:t>
            </a:r>
          </a:p>
          <a:p>
            <a:pPr lvl="2"/>
            <a:r>
              <a:rPr lang="en-GB" noProof="0" dirty="0"/>
              <a:t>Bullet point subcategory</a:t>
            </a:r>
          </a:p>
          <a:p>
            <a:pPr lvl="3"/>
            <a:r>
              <a:rPr lang="en-GB" noProof="0" dirty="0"/>
              <a:t>Bullet point subcategory</a:t>
            </a:r>
          </a:p>
          <a:p>
            <a:pPr lvl="4"/>
            <a:r>
              <a:rPr lang="en-GB" noProof="0" dirty="0"/>
              <a:t>Bullet point subcategory</a:t>
            </a:r>
          </a:p>
        </p:txBody>
      </p:sp>
    </p:spTree>
    <p:extLst>
      <p:ext uri="{BB962C8B-B14F-4D97-AF65-F5344CB8AC3E}">
        <p14:creationId xmlns:p14="http://schemas.microsoft.com/office/powerpoint/2010/main" val="2847862721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 slide w pi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Bildobjekt 17">
            <a:extLst>
              <a:ext uri="{FF2B5EF4-FFF2-40B4-BE49-F238E27FC236}">
                <a16:creationId xmlns:a16="http://schemas.microsoft.com/office/drawing/2014/main" id="{92C14040-5D52-4A3F-BD2A-51865250BBB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8916" b="22007"/>
          <a:stretch/>
        </p:blipFill>
        <p:spPr>
          <a:xfrm>
            <a:off x="0" y="3665161"/>
            <a:ext cx="9144000" cy="1478339"/>
          </a:xfrm>
          <a:prstGeom prst="rect">
            <a:avLst/>
          </a:prstGeom>
        </p:spPr>
      </p:pic>
      <p:sp>
        <p:nvSpPr>
          <p:cNvPr id="10" name="Platshållare för bildnummer 5">
            <a:extLst>
              <a:ext uri="{FF2B5EF4-FFF2-40B4-BE49-F238E27FC236}">
                <a16:creationId xmlns:a16="http://schemas.microsoft.com/office/drawing/2014/main" id="{73BEFB8A-384F-489A-8A44-5EA42FDA55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32000" y="4830367"/>
            <a:ext cx="434242" cy="23661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lang="sv-SE" sz="600" smtClean="0">
                <a:solidFill>
                  <a:srgbClr val="3C3C3C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1A49F53B-68F7-402D-8883-CC8AD69B34F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Rectangle 4">
            <a:extLst>
              <a:ext uri="{FF2B5EF4-FFF2-40B4-BE49-F238E27FC236}">
                <a16:creationId xmlns:a16="http://schemas.microsoft.com/office/drawing/2014/main" id="{00696BCC-22B6-4BAF-880B-049A30CFFDD6}"/>
              </a:ext>
            </a:extLst>
          </p:cNvPr>
          <p:cNvSpPr>
            <a:spLocks noGrp="1" noChangeArrowheads="1"/>
          </p:cNvSpPr>
          <p:nvPr>
            <p:ph type="dt" sz="half" idx="2"/>
          </p:nvPr>
        </p:nvSpPr>
        <p:spPr>
          <a:xfrm>
            <a:off x="7805739" y="4794250"/>
            <a:ext cx="881062" cy="27272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sv-SE" sz="60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/>
              <a:t>15 March, 2023</a:t>
            </a:r>
            <a:endParaRPr lang="en-GB" dirty="0"/>
          </a:p>
        </p:txBody>
      </p:sp>
      <p:sp>
        <p:nvSpPr>
          <p:cNvPr id="17" name="Rektangel 16">
            <a:extLst>
              <a:ext uri="{FF2B5EF4-FFF2-40B4-BE49-F238E27FC236}">
                <a16:creationId xmlns:a16="http://schemas.microsoft.com/office/drawing/2014/main" id="{B7E0A65E-2F4C-476D-9084-6DB0E5AC6E57}"/>
              </a:ext>
            </a:extLst>
          </p:cNvPr>
          <p:cNvSpPr/>
          <p:nvPr userDrawn="1"/>
        </p:nvSpPr>
        <p:spPr>
          <a:xfrm rot="20206785">
            <a:off x="6703143" y="715726"/>
            <a:ext cx="2440858" cy="1722553"/>
          </a:xfrm>
          <a:prstGeom prst="rect">
            <a:avLst/>
          </a:prstGeom>
          <a:gradFill flip="none" rotWithShape="1">
            <a:gsLst>
              <a:gs pos="51000">
                <a:srgbClr val="FFFFFF">
                  <a:alpha val="0"/>
                </a:srgbClr>
              </a:gs>
              <a:gs pos="40000">
                <a:srgbClr val="FFFFFF">
                  <a:alpha val="80000"/>
                </a:srgbClr>
              </a:gs>
              <a:gs pos="29000">
                <a:srgbClr val="FFFFFF">
                  <a:alpha val="90000"/>
                </a:srgbClr>
              </a:gs>
              <a:gs pos="1000">
                <a:schemeClr val="bg1"/>
              </a:gs>
              <a:gs pos="100000">
                <a:schemeClr val="bg1">
                  <a:alpha val="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rtlCol="0" anchor="t" anchorCtr="0"/>
          <a:lstStyle/>
          <a:p>
            <a:pPr algn="ctr"/>
            <a:endParaRPr lang="sv-SE" sz="900" dirty="0">
              <a:solidFill>
                <a:schemeClr val="tx1"/>
              </a:solidFill>
            </a:endParaRPr>
          </a:p>
        </p:txBody>
      </p:sp>
      <p:sp>
        <p:nvSpPr>
          <p:cNvPr id="7" name="Platshållare för innehåll 7"/>
          <p:cNvSpPr>
            <a:spLocks noGrp="1"/>
          </p:cNvSpPr>
          <p:nvPr>
            <p:ph sz="quarter" idx="16" hasCustomPrompt="1"/>
          </p:nvPr>
        </p:nvSpPr>
        <p:spPr>
          <a:xfrm>
            <a:off x="432001" y="1080000"/>
            <a:ext cx="7281749" cy="3076364"/>
          </a:xfrm>
        </p:spPr>
        <p:txBody>
          <a:bodyPr/>
          <a:lstStyle>
            <a:lvl1pPr>
              <a:defRPr>
                <a:solidFill>
                  <a:srgbClr val="3C3C3C"/>
                </a:solidFill>
              </a:defRPr>
            </a:lvl1pPr>
            <a:lvl2pPr marL="336947" marR="0" indent="-158354" algn="l" defTabSz="6858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FD500"/>
              </a:buClr>
              <a:buSzPct val="110000"/>
              <a:buFont typeface="Arial" pitchFamily="34" charset="0"/>
              <a:buChar char="•"/>
              <a:tabLst/>
              <a:defRPr lang="sv-SE" baseline="0" smtClean="0">
                <a:solidFill>
                  <a:srgbClr val="3C3C3C"/>
                </a:solidFill>
              </a:defRPr>
            </a:lvl2pPr>
            <a:lvl3pPr>
              <a:buClr>
                <a:srgbClr val="FFD500"/>
              </a:buClr>
              <a:defRPr>
                <a:solidFill>
                  <a:srgbClr val="3C3C3C"/>
                </a:solidFill>
              </a:defRPr>
            </a:lvl3pPr>
            <a:lvl4pPr>
              <a:buClr>
                <a:srgbClr val="FFD500"/>
              </a:buClr>
              <a:defRPr>
                <a:solidFill>
                  <a:srgbClr val="3C3C3C"/>
                </a:solidFill>
              </a:defRPr>
            </a:lvl4pPr>
            <a:lvl5pPr>
              <a:buClr>
                <a:srgbClr val="FFD500"/>
              </a:buClr>
              <a:defRPr>
                <a:solidFill>
                  <a:srgbClr val="3C3C3C"/>
                </a:solidFill>
              </a:defRPr>
            </a:lvl5pPr>
          </a:lstStyle>
          <a:p>
            <a:pPr lvl="0"/>
            <a:r>
              <a:rPr lang="en-GB" noProof="0" dirty="0"/>
              <a:t>Bullet point</a:t>
            </a:r>
          </a:p>
          <a:p>
            <a:pPr lvl="1"/>
            <a:r>
              <a:rPr lang="en-GB" noProof="0" dirty="0"/>
              <a:t>Bullet point subcategory</a:t>
            </a:r>
          </a:p>
          <a:p>
            <a:pPr lvl="2"/>
            <a:r>
              <a:rPr lang="en-GB" noProof="0" dirty="0"/>
              <a:t>Bullet point subcategory</a:t>
            </a:r>
          </a:p>
          <a:p>
            <a:pPr lvl="3"/>
            <a:r>
              <a:rPr lang="en-GB" noProof="0" dirty="0"/>
              <a:t>Bullet point subcategory</a:t>
            </a:r>
          </a:p>
          <a:p>
            <a:pPr lvl="4"/>
            <a:r>
              <a:rPr lang="en-GB" noProof="0" dirty="0"/>
              <a:t>Bullet point subcategory</a:t>
            </a:r>
          </a:p>
        </p:txBody>
      </p:sp>
      <p:sp>
        <p:nvSpPr>
          <p:cNvPr id="11" name="Rubrik 1"/>
          <p:cNvSpPr>
            <a:spLocks noGrp="1"/>
          </p:cNvSpPr>
          <p:nvPr>
            <p:ph type="title" hasCustomPrompt="1"/>
          </p:nvPr>
        </p:nvSpPr>
        <p:spPr>
          <a:xfrm>
            <a:off x="432001" y="405000"/>
            <a:ext cx="7281749" cy="432000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er</a:t>
            </a:r>
          </a:p>
        </p:txBody>
      </p:sp>
      <p:sp>
        <p:nvSpPr>
          <p:cNvPr id="13" name="Platshållare för sidfot 4">
            <a:extLst>
              <a:ext uri="{FF2B5EF4-FFF2-40B4-BE49-F238E27FC236}">
                <a16:creationId xmlns:a16="http://schemas.microsoft.com/office/drawing/2014/main" id="{F402E31B-8C26-458A-B883-42D2DA1CE8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59860" y="4794250"/>
            <a:ext cx="6153890" cy="27272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lang="en-GB" sz="6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©2023 Nynas. All rights reserved.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571396492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tandard slide w pi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Bildobjekt 17">
            <a:extLst>
              <a:ext uri="{FF2B5EF4-FFF2-40B4-BE49-F238E27FC236}">
                <a16:creationId xmlns:a16="http://schemas.microsoft.com/office/drawing/2014/main" id="{CE44A3E0-3971-43CE-A1FE-1121BC62467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9507"/>
          <a:stretch/>
        </p:blipFill>
        <p:spPr>
          <a:xfrm>
            <a:off x="-1" y="3954843"/>
            <a:ext cx="9144001" cy="1188657"/>
          </a:xfrm>
          <a:prstGeom prst="rect">
            <a:avLst/>
          </a:prstGeom>
        </p:spPr>
      </p:pic>
      <p:sp>
        <p:nvSpPr>
          <p:cNvPr id="11" name="Rubrik 1"/>
          <p:cNvSpPr>
            <a:spLocks noGrp="1"/>
          </p:cNvSpPr>
          <p:nvPr>
            <p:ph type="title" hasCustomPrompt="1"/>
          </p:nvPr>
        </p:nvSpPr>
        <p:spPr>
          <a:xfrm>
            <a:off x="432001" y="405000"/>
            <a:ext cx="7281749" cy="432000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er</a:t>
            </a:r>
          </a:p>
        </p:txBody>
      </p:sp>
      <p:sp>
        <p:nvSpPr>
          <p:cNvPr id="10" name="Platshållare för bildnummer 5">
            <a:extLst>
              <a:ext uri="{FF2B5EF4-FFF2-40B4-BE49-F238E27FC236}">
                <a16:creationId xmlns:a16="http://schemas.microsoft.com/office/drawing/2014/main" id="{73BEFB8A-384F-489A-8A44-5EA42FDA55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32000" y="4830367"/>
            <a:ext cx="434242" cy="23661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lang="sv-SE" sz="600" smtClean="0">
                <a:solidFill>
                  <a:schemeClr val="bg1">
                    <a:lumMod val="8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1A49F53B-68F7-402D-8883-CC8AD69B34F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Rectangle 4">
            <a:extLst>
              <a:ext uri="{FF2B5EF4-FFF2-40B4-BE49-F238E27FC236}">
                <a16:creationId xmlns:a16="http://schemas.microsoft.com/office/drawing/2014/main" id="{00696BCC-22B6-4BAF-880B-049A30CFFDD6}"/>
              </a:ext>
            </a:extLst>
          </p:cNvPr>
          <p:cNvSpPr>
            <a:spLocks noGrp="1" noChangeArrowheads="1"/>
          </p:cNvSpPr>
          <p:nvPr>
            <p:ph type="dt" sz="half" idx="2"/>
          </p:nvPr>
        </p:nvSpPr>
        <p:spPr>
          <a:xfrm>
            <a:off x="7805739" y="4794250"/>
            <a:ext cx="881062" cy="27272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sv-SE" sz="600" smtClean="0">
                <a:solidFill>
                  <a:schemeClr val="bg1">
                    <a:lumMod val="8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/>
              <a:t>15 March, 2023</a:t>
            </a:r>
            <a:endParaRPr lang="en-GB" dirty="0"/>
          </a:p>
        </p:txBody>
      </p:sp>
      <p:sp>
        <p:nvSpPr>
          <p:cNvPr id="13" name="Platshållare för sidfot 4">
            <a:extLst>
              <a:ext uri="{FF2B5EF4-FFF2-40B4-BE49-F238E27FC236}">
                <a16:creationId xmlns:a16="http://schemas.microsoft.com/office/drawing/2014/main" id="{F402E31B-8C26-458A-B883-42D2DA1CE8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59860" y="4794250"/>
            <a:ext cx="6153890" cy="27272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lang="en-GB" sz="600" dirty="0">
                <a:solidFill>
                  <a:srgbClr val="3C3C3C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©2023 Nynas. All rights reserved.</a:t>
            </a:r>
            <a:endParaRPr lang="sv-SE" dirty="0"/>
          </a:p>
        </p:txBody>
      </p:sp>
      <p:sp>
        <p:nvSpPr>
          <p:cNvPr id="9" name="Platshållare för innehåll 7">
            <a:extLst>
              <a:ext uri="{FF2B5EF4-FFF2-40B4-BE49-F238E27FC236}">
                <a16:creationId xmlns:a16="http://schemas.microsoft.com/office/drawing/2014/main" id="{587E510D-0087-4710-A081-38816540B8D9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32001" y="1080000"/>
            <a:ext cx="7281749" cy="3076364"/>
          </a:xfrm>
        </p:spPr>
        <p:txBody>
          <a:bodyPr/>
          <a:lstStyle>
            <a:lvl1pPr>
              <a:defRPr>
                <a:solidFill>
                  <a:srgbClr val="3C3C3C"/>
                </a:solidFill>
              </a:defRPr>
            </a:lvl1pPr>
            <a:lvl2pPr marL="336947" marR="0" indent="-158354" algn="l" defTabSz="6858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FD500"/>
              </a:buClr>
              <a:buSzPct val="110000"/>
              <a:buFont typeface="Arial" pitchFamily="34" charset="0"/>
              <a:buChar char="•"/>
              <a:tabLst/>
              <a:defRPr lang="sv-SE" baseline="0" smtClean="0">
                <a:solidFill>
                  <a:srgbClr val="3C3C3C"/>
                </a:solidFill>
              </a:defRPr>
            </a:lvl2pPr>
            <a:lvl3pPr>
              <a:buClr>
                <a:srgbClr val="FFD500"/>
              </a:buClr>
              <a:defRPr>
                <a:solidFill>
                  <a:srgbClr val="3C3C3C"/>
                </a:solidFill>
              </a:defRPr>
            </a:lvl3pPr>
            <a:lvl4pPr>
              <a:buClr>
                <a:srgbClr val="FFD500"/>
              </a:buClr>
              <a:defRPr>
                <a:solidFill>
                  <a:srgbClr val="3C3C3C"/>
                </a:solidFill>
              </a:defRPr>
            </a:lvl4pPr>
            <a:lvl5pPr>
              <a:buClr>
                <a:srgbClr val="FFD500"/>
              </a:buClr>
              <a:defRPr>
                <a:solidFill>
                  <a:srgbClr val="3C3C3C"/>
                </a:solidFill>
              </a:defRPr>
            </a:lvl5pPr>
          </a:lstStyle>
          <a:p>
            <a:pPr lvl="0"/>
            <a:r>
              <a:rPr lang="en-GB" noProof="0" dirty="0"/>
              <a:t>Bullet point</a:t>
            </a:r>
          </a:p>
          <a:p>
            <a:pPr lvl="1"/>
            <a:r>
              <a:rPr lang="en-GB" noProof="0" dirty="0"/>
              <a:t>Bullet point subcategory</a:t>
            </a:r>
          </a:p>
          <a:p>
            <a:pPr lvl="2"/>
            <a:r>
              <a:rPr lang="en-GB" noProof="0" dirty="0"/>
              <a:t>Bullet point subcategory</a:t>
            </a:r>
          </a:p>
          <a:p>
            <a:pPr lvl="3"/>
            <a:r>
              <a:rPr lang="en-GB" noProof="0" dirty="0"/>
              <a:t>Bullet point subcategory</a:t>
            </a:r>
          </a:p>
          <a:p>
            <a:pPr lvl="4"/>
            <a:r>
              <a:rPr lang="en-GB" noProof="0" dirty="0"/>
              <a:t>Bullet point subcategory</a:t>
            </a:r>
          </a:p>
        </p:txBody>
      </p:sp>
    </p:spTree>
    <p:extLst>
      <p:ext uri="{BB962C8B-B14F-4D97-AF65-F5344CB8AC3E}">
        <p14:creationId xmlns:p14="http://schemas.microsoft.com/office/powerpoint/2010/main" val="378945991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tandard slide w pi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ubrik 1"/>
          <p:cNvSpPr>
            <a:spLocks noGrp="1"/>
          </p:cNvSpPr>
          <p:nvPr>
            <p:ph type="title" hasCustomPrompt="1"/>
          </p:nvPr>
        </p:nvSpPr>
        <p:spPr>
          <a:xfrm>
            <a:off x="432001" y="405000"/>
            <a:ext cx="7281749" cy="432000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er</a:t>
            </a:r>
          </a:p>
        </p:txBody>
      </p:sp>
      <p:pic>
        <p:nvPicPr>
          <p:cNvPr id="25" name="Bildobjekt 24">
            <a:extLst>
              <a:ext uri="{FF2B5EF4-FFF2-40B4-BE49-F238E27FC236}">
                <a16:creationId xmlns:a16="http://schemas.microsoft.com/office/drawing/2014/main" id="{3D777DBD-6C5A-46D5-91EB-00D71C6D1B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3" b="22044"/>
          <a:stretch/>
        </p:blipFill>
        <p:spPr>
          <a:xfrm>
            <a:off x="0" y="4036126"/>
            <a:ext cx="9144000" cy="1107374"/>
          </a:xfrm>
          <a:prstGeom prst="rect">
            <a:avLst/>
          </a:prstGeom>
        </p:spPr>
      </p:pic>
      <p:sp>
        <p:nvSpPr>
          <p:cNvPr id="16" name="Platshållare för bildnummer 5">
            <a:extLst>
              <a:ext uri="{FF2B5EF4-FFF2-40B4-BE49-F238E27FC236}">
                <a16:creationId xmlns:a16="http://schemas.microsoft.com/office/drawing/2014/main" id="{18656B69-5384-4268-91E7-B8C673F526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32000" y="4830367"/>
            <a:ext cx="434242" cy="23661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lang="sv-SE" sz="600" smtClean="0">
                <a:solidFill>
                  <a:schemeClr val="bg1">
                    <a:lumMod val="8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1A49F53B-68F7-402D-8883-CC8AD69B34F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7" name="Rectangle 4">
            <a:extLst>
              <a:ext uri="{FF2B5EF4-FFF2-40B4-BE49-F238E27FC236}">
                <a16:creationId xmlns:a16="http://schemas.microsoft.com/office/drawing/2014/main" id="{DD5A26C6-08CF-4099-B9D4-029830B6E425}"/>
              </a:ext>
            </a:extLst>
          </p:cNvPr>
          <p:cNvSpPr>
            <a:spLocks noGrp="1" noChangeArrowheads="1"/>
          </p:cNvSpPr>
          <p:nvPr>
            <p:ph type="dt" sz="half" idx="2"/>
          </p:nvPr>
        </p:nvSpPr>
        <p:spPr>
          <a:xfrm>
            <a:off x="7805739" y="4794250"/>
            <a:ext cx="881062" cy="27272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sv-SE" sz="600" smtClean="0">
                <a:solidFill>
                  <a:schemeClr val="bg1">
                    <a:lumMod val="8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/>
              <a:t>15 March, 2023</a:t>
            </a:r>
            <a:endParaRPr lang="en-GB" dirty="0"/>
          </a:p>
        </p:txBody>
      </p:sp>
      <p:sp>
        <p:nvSpPr>
          <p:cNvPr id="18" name="Platshållare för sidfot 4">
            <a:extLst>
              <a:ext uri="{FF2B5EF4-FFF2-40B4-BE49-F238E27FC236}">
                <a16:creationId xmlns:a16="http://schemas.microsoft.com/office/drawing/2014/main" id="{646B1EA1-EDC7-4E06-8647-018A3B53C14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59860" y="4794250"/>
            <a:ext cx="6153890" cy="27272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lang="en-GB" sz="600" dirty="0">
                <a:solidFill>
                  <a:schemeClr val="bg1">
                    <a:lumMod val="8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©2023 Nynas. All rights reserved.</a:t>
            </a:r>
            <a:endParaRPr lang="sv-SE"/>
          </a:p>
        </p:txBody>
      </p:sp>
      <p:sp>
        <p:nvSpPr>
          <p:cNvPr id="8" name="Platshållare för innehåll 7">
            <a:extLst>
              <a:ext uri="{FF2B5EF4-FFF2-40B4-BE49-F238E27FC236}">
                <a16:creationId xmlns:a16="http://schemas.microsoft.com/office/drawing/2014/main" id="{704C47D3-E7CC-4D14-9015-BAF8ADBC7731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32001" y="1080000"/>
            <a:ext cx="7281749" cy="3076364"/>
          </a:xfrm>
        </p:spPr>
        <p:txBody>
          <a:bodyPr/>
          <a:lstStyle>
            <a:lvl1pPr>
              <a:defRPr>
                <a:solidFill>
                  <a:srgbClr val="3C3C3C"/>
                </a:solidFill>
              </a:defRPr>
            </a:lvl1pPr>
            <a:lvl2pPr marL="336947" marR="0" indent="-158354" algn="l" defTabSz="6858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FD500"/>
              </a:buClr>
              <a:buSzPct val="110000"/>
              <a:buFont typeface="Arial" pitchFamily="34" charset="0"/>
              <a:buChar char="•"/>
              <a:tabLst/>
              <a:defRPr lang="sv-SE" baseline="0" smtClean="0">
                <a:solidFill>
                  <a:srgbClr val="3C3C3C"/>
                </a:solidFill>
              </a:defRPr>
            </a:lvl2pPr>
            <a:lvl3pPr>
              <a:buClr>
                <a:srgbClr val="FFD500"/>
              </a:buClr>
              <a:defRPr>
                <a:solidFill>
                  <a:srgbClr val="3C3C3C"/>
                </a:solidFill>
              </a:defRPr>
            </a:lvl3pPr>
            <a:lvl4pPr>
              <a:buClr>
                <a:srgbClr val="FFD500"/>
              </a:buClr>
              <a:defRPr>
                <a:solidFill>
                  <a:srgbClr val="3C3C3C"/>
                </a:solidFill>
              </a:defRPr>
            </a:lvl4pPr>
            <a:lvl5pPr>
              <a:buClr>
                <a:srgbClr val="FFD500"/>
              </a:buClr>
              <a:defRPr>
                <a:solidFill>
                  <a:srgbClr val="3C3C3C"/>
                </a:solidFill>
              </a:defRPr>
            </a:lvl5pPr>
          </a:lstStyle>
          <a:p>
            <a:pPr lvl="0"/>
            <a:r>
              <a:rPr lang="en-GB" noProof="0" dirty="0"/>
              <a:t>Bullet point</a:t>
            </a:r>
          </a:p>
          <a:p>
            <a:pPr lvl="1"/>
            <a:r>
              <a:rPr lang="en-GB" noProof="0" dirty="0"/>
              <a:t>Bullet point subcategory</a:t>
            </a:r>
          </a:p>
          <a:p>
            <a:pPr lvl="2"/>
            <a:r>
              <a:rPr lang="en-GB" noProof="0" dirty="0"/>
              <a:t>Bullet point subcategory</a:t>
            </a:r>
          </a:p>
          <a:p>
            <a:pPr lvl="3"/>
            <a:r>
              <a:rPr lang="en-GB" noProof="0" dirty="0"/>
              <a:t>Bullet point subcategory</a:t>
            </a:r>
          </a:p>
          <a:p>
            <a:pPr lvl="4"/>
            <a:r>
              <a:rPr lang="en-GB" noProof="0" dirty="0"/>
              <a:t>Bullet point subcategory</a:t>
            </a:r>
          </a:p>
        </p:txBody>
      </p:sp>
    </p:spTree>
    <p:extLst>
      <p:ext uri="{BB962C8B-B14F-4D97-AF65-F5344CB8AC3E}">
        <p14:creationId xmlns:p14="http://schemas.microsoft.com/office/powerpoint/2010/main" val="536257769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Standard slide w pi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319F03ED-EE49-42F0-9094-E843F9233CE6">
            <a:extLst>
              <a:ext uri="{FF2B5EF4-FFF2-40B4-BE49-F238E27FC236}">
                <a16:creationId xmlns:a16="http://schemas.microsoft.com/office/drawing/2014/main" id="{32C22B23-8BDA-4461-AA8E-0901299C402F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" t="-7228" r="113" b="-1"/>
          <a:stretch/>
        </p:blipFill>
        <p:spPr bwMode="auto">
          <a:xfrm>
            <a:off x="0" y="4482186"/>
            <a:ext cx="9144000" cy="6740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ubrik 1"/>
          <p:cNvSpPr>
            <a:spLocks noGrp="1"/>
          </p:cNvSpPr>
          <p:nvPr>
            <p:ph type="title" hasCustomPrompt="1"/>
          </p:nvPr>
        </p:nvSpPr>
        <p:spPr>
          <a:xfrm>
            <a:off x="432001" y="405000"/>
            <a:ext cx="7281749" cy="432000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er</a:t>
            </a:r>
          </a:p>
        </p:txBody>
      </p:sp>
      <p:sp>
        <p:nvSpPr>
          <p:cNvPr id="16" name="Platshållare för bildnummer 5">
            <a:extLst>
              <a:ext uri="{FF2B5EF4-FFF2-40B4-BE49-F238E27FC236}">
                <a16:creationId xmlns:a16="http://schemas.microsoft.com/office/drawing/2014/main" id="{18656B69-5384-4268-91E7-B8C673F526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32000" y="4830367"/>
            <a:ext cx="434242" cy="23661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lang="sv-SE" sz="600" smtClean="0">
                <a:solidFill>
                  <a:schemeClr val="bg1">
                    <a:lumMod val="8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1A49F53B-68F7-402D-8883-CC8AD69B34F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7" name="Rectangle 4">
            <a:extLst>
              <a:ext uri="{FF2B5EF4-FFF2-40B4-BE49-F238E27FC236}">
                <a16:creationId xmlns:a16="http://schemas.microsoft.com/office/drawing/2014/main" id="{DD5A26C6-08CF-4099-B9D4-029830B6E425}"/>
              </a:ext>
            </a:extLst>
          </p:cNvPr>
          <p:cNvSpPr>
            <a:spLocks noGrp="1" noChangeArrowheads="1"/>
          </p:cNvSpPr>
          <p:nvPr>
            <p:ph type="dt" sz="half" idx="2"/>
          </p:nvPr>
        </p:nvSpPr>
        <p:spPr>
          <a:xfrm>
            <a:off x="7805739" y="4794250"/>
            <a:ext cx="881062" cy="27272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sv-SE" sz="600" smtClean="0">
                <a:solidFill>
                  <a:schemeClr val="bg1">
                    <a:lumMod val="8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/>
              <a:t>15 March, 2023</a:t>
            </a:r>
            <a:endParaRPr lang="en-GB" dirty="0"/>
          </a:p>
        </p:txBody>
      </p:sp>
      <p:sp>
        <p:nvSpPr>
          <p:cNvPr id="18" name="Platshållare för sidfot 4">
            <a:extLst>
              <a:ext uri="{FF2B5EF4-FFF2-40B4-BE49-F238E27FC236}">
                <a16:creationId xmlns:a16="http://schemas.microsoft.com/office/drawing/2014/main" id="{646B1EA1-EDC7-4E06-8647-018A3B53C14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59860" y="4794250"/>
            <a:ext cx="6153890" cy="27272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lang="en-GB" sz="600" dirty="0">
                <a:solidFill>
                  <a:schemeClr val="bg1">
                    <a:lumMod val="8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©2023 Nynas. All rights reserved.</a:t>
            </a:r>
            <a:endParaRPr lang="sv-SE"/>
          </a:p>
        </p:txBody>
      </p:sp>
      <p:sp>
        <p:nvSpPr>
          <p:cNvPr id="8" name="Platshållare för innehåll 7">
            <a:extLst>
              <a:ext uri="{FF2B5EF4-FFF2-40B4-BE49-F238E27FC236}">
                <a16:creationId xmlns:a16="http://schemas.microsoft.com/office/drawing/2014/main" id="{704C47D3-E7CC-4D14-9015-BAF8ADBC7731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32001" y="1080000"/>
            <a:ext cx="7281749" cy="3312890"/>
          </a:xfrm>
        </p:spPr>
        <p:txBody>
          <a:bodyPr/>
          <a:lstStyle>
            <a:lvl1pPr>
              <a:defRPr>
                <a:solidFill>
                  <a:srgbClr val="3C3C3C"/>
                </a:solidFill>
              </a:defRPr>
            </a:lvl1pPr>
            <a:lvl2pPr marL="336947" marR="0" indent="-158354" algn="l" defTabSz="6858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FD500"/>
              </a:buClr>
              <a:buSzPct val="110000"/>
              <a:buFont typeface="Arial" pitchFamily="34" charset="0"/>
              <a:buChar char="•"/>
              <a:tabLst/>
              <a:defRPr lang="sv-SE" baseline="0" smtClean="0">
                <a:solidFill>
                  <a:srgbClr val="3C3C3C"/>
                </a:solidFill>
              </a:defRPr>
            </a:lvl2pPr>
            <a:lvl3pPr>
              <a:buClr>
                <a:srgbClr val="FFD500"/>
              </a:buClr>
              <a:defRPr>
                <a:solidFill>
                  <a:srgbClr val="3C3C3C"/>
                </a:solidFill>
              </a:defRPr>
            </a:lvl3pPr>
            <a:lvl4pPr>
              <a:buClr>
                <a:srgbClr val="FFD500"/>
              </a:buClr>
              <a:defRPr>
                <a:solidFill>
                  <a:srgbClr val="3C3C3C"/>
                </a:solidFill>
              </a:defRPr>
            </a:lvl4pPr>
            <a:lvl5pPr>
              <a:buClr>
                <a:srgbClr val="FFD500"/>
              </a:buClr>
              <a:defRPr>
                <a:solidFill>
                  <a:srgbClr val="3C3C3C"/>
                </a:solidFill>
              </a:defRPr>
            </a:lvl5pPr>
          </a:lstStyle>
          <a:p>
            <a:pPr lvl="0"/>
            <a:r>
              <a:rPr lang="en-GB" noProof="0" dirty="0"/>
              <a:t>Bullet point</a:t>
            </a:r>
          </a:p>
          <a:p>
            <a:pPr lvl="1"/>
            <a:r>
              <a:rPr lang="en-GB" noProof="0" dirty="0"/>
              <a:t>Bullet point subcategory</a:t>
            </a:r>
          </a:p>
          <a:p>
            <a:pPr lvl="2"/>
            <a:r>
              <a:rPr lang="en-GB" noProof="0" dirty="0"/>
              <a:t>Bullet point subcategory</a:t>
            </a:r>
          </a:p>
          <a:p>
            <a:pPr lvl="3"/>
            <a:r>
              <a:rPr lang="en-GB" noProof="0" dirty="0"/>
              <a:t>Bullet point subcategory</a:t>
            </a:r>
          </a:p>
          <a:p>
            <a:pPr lvl="4"/>
            <a:r>
              <a:rPr lang="en-GB" noProof="0" dirty="0"/>
              <a:t>Bullet point subcategory</a:t>
            </a:r>
          </a:p>
        </p:txBody>
      </p:sp>
    </p:spTree>
    <p:extLst>
      <p:ext uri="{BB962C8B-B14F-4D97-AF65-F5344CB8AC3E}">
        <p14:creationId xmlns:p14="http://schemas.microsoft.com/office/powerpoint/2010/main" val="1683943557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tandard slide w pi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E8BFBA84-DC38-4599-9181-00F4216DE080">
            <a:extLst>
              <a:ext uri="{FF2B5EF4-FFF2-40B4-BE49-F238E27FC236}">
                <a16:creationId xmlns:a16="http://schemas.microsoft.com/office/drawing/2014/main" id="{AFA25888-6210-4DF1-8675-A3DDEC8E861C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73"/>
          <a:stretch/>
        </p:blipFill>
        <p:spPr bwMode="auto">
          <a:xfrm>
            <a:off x="1" y="4515266"/>
            <a:ext cx="9143999" cy="6282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ubrik 1"/>
          <p:cNvSpPr>
            <a:spLocks noGrp="1"/>
          </p:cNvSpPr>
          <p:nvPr>
            <p:ph type="title" hasCustomPrompt="1"/>
          </p:nvPr>
        </p:nvSpPr>
        <p:spPr>
          <a:xfrm>
            <a:off x="432001" y="405000"/>
            <a:ext cx="7281749" cy="432000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er</a:t>
            </a:r>
          </a:p>
        </p:txBody>
      </p:sp>
      <p:sp>
        <p:nvSpPr>
          <p:cNvPr id="16" name="Platshållare för bildnummer 5">
            <a:extLst>
              <a:ext uri="{FF2B5EF4-FFF2-40B4-BE49-F238E27FC236}">
                <a16:creationId xmlns:a16="http://schemas.microsoft.com/office/drawing/2014/main" id="{18656B69-5384-4268-91E7-B8C673F526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32000" y="4830367"/>
            <a:ext cx="434242" cy="23661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lang="sv-SE" sz="600" smtClean="0">
                <a:solidFill>
                  <a:schemeClr val="bg1">
                    <a:lumMod val="8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1A49F53B-68F7-402D-8883-CC8AD69B34F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7" name="Rectangle 4">
            <a:extLst>
              <a:ext uri="{FF2B5EF4-FFF2-40B4-BE49-F238E27FC236}">
                <a16:creationId xmlns:a16="http://schemas.microsoft.com/office/drawing/2014/main" id="{DD5A26C6-08CF-4099-B9D4-029830B6E425}"/>
              </a:ext>
            </a:extLst>
          </p:cNvPr>
          <p:cNvSpPr>
            <a:spLocks noGrp="1" noChangeArrowheads="1"/>
          </p:cNvSpPr>
          <p:nvPr>
            <p:ph type="dt" sz="half" idx="2"/>
          </p:nvPr>
        </p:nvSpPr>
        <p:spPr>
          <a:xfrm>
            <a:off x="7805739" y="4794250"/>
            <a:ext cx="881062" cy="27272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sv-SE" sz="600" smtClean="0">
                <a:solidFill>
                  <a:schemeClr val="bg1">
                    <a:lumMod val="8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/>
              <a:t>15 March, 2023</a:t>
            </a:r>
            <a:endParaRPr lang="en-GB" dirty="0"/>
          </a:p>
        </p:txBody>
      </p:sp>
      <p:sp>
        <p:nvSpPr>
          <p:cNvPr id="18" name="Platshållare för sidfot 4">
            <a:extLst>
              <a:ext uri="{FF2B5EF4-FFF2-40B4-BE49-F238E27FC236}">
                <a16:creationId xmlns:a16="http://schemas.microsoft.com/office/drawing/2014/main" id="{646B1EA1-EDC7-4E06-8647-018A3B53C14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59860" y="4794250"/>
            <a:ext cx="6153890" cy="27272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lang="en-GB" sz="600" dirty="0">
                <a:solidFill>
                  <a:schemeClr val="bg1">
                    <a:lumMod val="8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©2023 Nynas. All rights reserved.</a:t>
            </a:r>
            <a:endParaRPr lang="sv-SE"/>
          </a:p>
        </p:txBody>
      </p:sp>
      <p:sp>
        <p:nvSpPr>
          <p:cNvPr id="8" name="Platshållare för innehåll 7">
            <a:extLst>
              <a:ext uri="{FF2B5EF4-FFF2-40B4-BE49-F238E27FC236}">
                <a16:creationId xmlns:a16="http://schemas.microsoft.com/office/drawing/2014/main" id="{704C47D3-E7CC-4D14-9015-BAF8ADBC7731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32001" y="1080000"/>
            <a:ext cx="7281749" cy="3312890"/>
          </a:xfrm>
        </p:spPr>
        <p:txBody>
          <a:bodyPr/>
          <a:lstStyle>
            <a:lvl1pPr>
              <a:defRPr>
                <a:solidFill>
                  <a:srgbClr val="3C3C3C"/>
                </a:solidFill>
              </a:defRPr>
            </a:lvl1pPr>
            <a:lvl2pPr marL="336947" marR="0" indent="-158354" algn="l" defTabSz="6858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FD500"/>
              </a:buClr>
              <a:buSzPct val="110000"/>
              <a:buFont typeface="Arial" pitchFamily="34" charset="0"/>
              <a:buChar char="•"/>
              <a:tabLst/>
              <a:defRPr lang="sv-SE" baseline="0" smtClean="0">
                <a:solidFill>
                  <a:srgbClr val="3C3C3C"/>
                </a:solidFill>
              </a:defRPr>
            </a:lvl2pPr>
            <a:lvl3pPr>
              <a:buClr>
                <a:srgbClr val="FFD500"/>
              </a:buClr>
              <a:defRPr>
                <a:solidFill>
                  <a:srgbClr val="3C3C3C"/>
                </a:solidFill>
              </a:defRPr>
            </a:lvl3pPr>
            <a:lvl4pPr>
              <a:buClr>
                <a:srgbClr val="FFD500"/>
              </a:buClr>
              <a:defRPr>
                <a:solidFill>
                  <a:srgbClr val="3C3C3C"/>
                </a:solidFill>
              </a:defRPr>
            </a:lvl4pPr>
            <a:lvl5pPr>
              <a:buClr>
                <a:srgbClr val="FFD500"/>
              </a:buClr>
              <a:defRPr>
                <a:solidFill>
                  <a:srgbClr val="3C3C3C"/>
                </a:solidFill>
              </a:defRPr>
            </a:lvl5pPr>
          </a:lstStyle>
          <a:p>
            <a:pPr lvl="0"/>
            <a:r>
              <a:rPr lang="en-GB" noProof="0" dirty="0"/>
              <a:t>Bullet point</a:t>
            </a:r>
          </a:p>
          <a:p>
            <a:pPr lvl="1"/>
            <a:r>
              <a:rPr lang="en-GB" noProof="0" dirty="0"/>
              <a:t>Bullet point subcategory</a:t>
            </a:r>
          </a:p>
          <a:p>
            <a:pPr lvl="2"/>
            <a:r>
              <a:rPr lang="en-GB" noProof="0" dirty="0"/>
              <a:t>Bullet point subcategory</a:t>
            </a:r>
          </a:p>
          <a:p>
            <a:pPr lvl="3"/>
            <a:r>
              <a:rPr lang="en-GB" noProof="0" dirty="0"/>
              <a:t>Bullet point subcategory</a:t>
            </a:r>
          </a:p>
          <a:p>
            <a:pPr lvl="4"/>
            <a:r>
              <a:rPr lang="en-GB" noProof="0" dirty="0"/>
              <a:t>Bullet point subcategory</a:t>
            </a:r>
          </a:p>
        </p:txBody>
      </p:sp>
    </p:spTree>
    <p:extLst>
      <p:ext uri="{BB962C8B-B14F-4D97-AF65-F5344CB8AC3E}">
        <p14:creationId xmlns:p14="http://schemas.microsoft.com/office/powerpoint/2010/main" val="1543013153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 with background_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objekt 5" descr="Road_Visual-Identity.pn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70695" y="2937510"/>
            <a:ext cx="3173306" cy="2205990"/>
          </a:xfrm>
          <a:prstGeom prst="rect">
            <a:avLst/>
          </a:prstGeom>
        </p:spPr>
      </p:pic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3C3C3C"/>
                </a:solidFill>
              </a:defRPr>
            </a:lvl1pPr>
          </a:lstStyle>
          <a:p>
            <a:r>
              <a:rPr lang="en-GB" noProof="0" dirty="0"/>
              <a:t>Header</a:t>
            </a:r>
          </a:p>
        </p:txBody>
      </p:sp>
      <p:sp>
        <p:nvSpPr>
          <p:cNvPr id="8" name="Platshållare för innehåll 7"/>
          <p:cNvSpPr>
            <a:spLocks noGrp="1"/>
          </p:cNvSpPr>
          <p:nvPr>
            <p:ph sz="quarter" idx="13" hasCustomPrompt="1"/>
          </p:nvPr>
        </p:nvSpPr>
        <p:spPr>
          <a:xfrm>
            <a:off x="432001" y="1080000"/>
            <a:ext cx="7281749" cy="3456000"/>
          </a:xfrm>
        </p:spPr>
        <p:txBody>
          <a:bodyPr/>
          <a:lstStyle>
            <a:lvl1pPr>
              <a:defRPr>
                <a:solidFill>
                  <a:srgbClr val="3C3C3C"/>
                </a:solidFill>
              </a:defRPr>
            </a:lvl1pPr>
            <a:lvl2pPr marL="336947" marR="0" indent="-158354" algn="l" defTabSz="6858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FD500"/>
              </a:buClr>
              <a:buSzPct val="110000"/>
              <a:buFont typeface="Arial" pitchFamily="34" charset="0"/>
              <a:buChar char="•"/>
              <a:tabLst/>
              <a:defRPr lang="sv-SE" baseline="0" smtClean="0">
                <a:solidFill>
                  <a:srgbClr val="3C3C3C"/>
                </a:solidFill>
              </a:defRPr>
            </a:lvl2pPr>
            <a:lvl3pPr>
              <a:buClr>
                <a:srgbClr val="FFD500"/>
              </a:buClr>
              <a:defRPr>
                <a:solidFill>
                  <a:srgbClr val="3C3C3C"/>
                </a:solidFill>
              </a:defRPr>
            </a:lvl3pPr>
            <a:lvl4pPr>
              <a:buClr>
                <a:srgbClr val="FFD500"/>
              </a:buClr>
              <a:defRPr>
                <a:solidFill>
                  <a:srgbClr val="3C3C3C"/>
                </a:solidFill>
              </a:defRPr>
            </a:lvl4pPr>
            <a:lvl5pPr>
              <a:buClr>
                <a:srgbClr val="FFD500"/>
              </a:buClr>
              <a:defRPr>
                <a:solidFill>
                  <a:srgbClr val="3C3C3C"/>
                </a:solidFill>
              </a:defRPr>
            </a:lvl5pPr>
          </a:lstStyle>
          <a:p>
            <a:pPr lvl="0"/>
            <a:r>
              <a:rPr lang="en-GB" noProof="0" dirty="0"/>
              <a:t>Bullet point</a:t>
            </a:r>
          </a:p>
          <a:p>
            <a:pPr lvl="1"/>
            <a:r>
              <a:rPr lang="en-GB" noProof="0" dirty="0"/>
              <a:t>Bullet point subcategory</a:t>
            </a:r>
          </a:p>
          <a:p>
            <a:pPr lvl="2"/>
            <a:r>
              <a:rPr lang="en-GB" noProof="0" dirty="0"/>
              <a:t>Bullet point subcategory</a:t>
            </a:r>
          </a:p>
          <a:p>
            <a:pPr lvl="3"/>
            <a:r>
              <a:rPr lang="en-GB" noProof="0" dirty="0"/>
              <a:t>Bullet point subcategory</a:t>
            </a:r>
          </a:p>
          <a:p>
            <a:pPr lvl="4"/>
            <a:r>
              <a:rPr lang="en-GB" noProof="0" dirty="0"/>
              <a:t>Bullet point subcategory</a:t>
            </a:r>
          </a:p>
        </p:txBody>
      </p:sp>
      <p:sp>
        <p:nvSpPr>
          <p:cNvPr id="9" name="Platshållare för bildnummer 5">
            <a:extLst>
              <a:ext uri="{FF2B5EF4-FFF2-40B4-BE49-F238E27FC236}">
                <a16:creationId xmlns:a16="http://schemas.microsoft.com/office/drawing/2014/main" id="{B99E919F-241D-4AA9-9376-BDEC83B456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32000" y="4830367"/>
            <a:ext cx="434242" cy="23661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lang="sv-SE" sz="600" smtClean="0">
                <a:solidFill>
                  <a:srgbClr val="3C3C3C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1A49F53B-68F7-402D-8883-CC8AD69B34F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Rectangle 4">
            <a:extLst>
              <a:ext uri="{FF2B5EF4-FFF2-40B4-BE49-F238E27FC236}">
                <a16:creationId xmlns:a16="http://schemas.microsoft.com/office/drawing/2014/main" id="{672E7C80-8255-44E5-85FE-693CAA7B3592}"/>
              </a:ext>
            </a:extLst>
          </p:cNvPr>
          <p:cNvSpPr>
            <a:spLocks noGrp="1" noChangeArrowheads="1"/>
          </p:cNvSpPr>
          <p:nvPr>
            <p:ph type="dt" sz="half" idx="2"/>
          </p:nvPr>
        </p:nvSpPr>
        <p:spPr>
          <a:xfrm>
            <a:off x="7805739" y="4794250"/>
            <a:ext cx="881062" cy="27272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sv-SE" sz="600" smtClean="0">
                <a:solidFill>
                  <a:srgbClr val="3C3C3C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/>
              <a:t>15 March, 2023</a:t>
            </a:r>
            <a:endParaRPr lang="en-GB" dirty="0"/>
          </a:p>
        </p:txBody>
      </p:sp>
      <p:sp>
        <p:nvSpPr>
          <p:cNvPr id="11" name="Platshållare för sidfot 4">
            <a:extLst>
              <a:ext uri="{FF2B5EF4-FFF2-40B4-BE49-F238E27FC236}">
                <a16:creationId xmlns:a16="http://schemas.microsoft.com/office/drawing/2014/main" id="{812C12D9-8615-45EE-B5E1-9CF02A19A5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59860" y="4794250"/>
            <a:ext cx="6153890" cy="27272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lang="en-GB" sz="600" dirty="0">
                <a:solidFill>
                  <a:srgbClr val="3C3C3C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©2023 Nynas. All rights reserved.</a:t>
            </a:r>
            <a:endParaRPr lang="sv-SE" dirty="0"/>
          </a:p>
        </p:txBody>
      </p:sp>
    </p:spTree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 with background_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396BBF58-6E43-47F9-848E-ADF81F7907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91514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396BBF58-6E43-47F9-848E-ADF81F7907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Bildobjekt 1"/>
          <p:cNvPicPr>
            <a:picLocks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570"/>
          <a:stretch/>
        </p:blipFill>
        <p:spPr>
          <a:xfrm>
            <a:off x="7810756" y="1190171"/>
            <a:ext cx="1333244" cy="3953330"/>
          </a:xfrm>
          <a:prstGeom prst="rect">
            <a:avLst/>
          </a:prstGeom>
        </p:spPr>
      </p:pic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solidFill>
                  <a:srgbClr val="3C3C3C"/>
                </a:solidFill>
              </a:defRPr>
            </a:lvl1pPr>
          </a:lstStyle>
          <a:p>
            <a:r>
              <a:rPr lang="en-GB" noProof="0" dirty="0"/>
              <a:t>Header</a:t>
            </a:r>
          </a:p>
        </p:txBody>
      </p:sp>
      <p:sp>
        <p:nvSpPr>
          <p:cNvPr id="8" name="Platshållare för innehåll 7"/>
          <p:cNvSpPr>
            <a:spLocks noGrp="1"/>
          </p:cNvSpPr>
          <p:nvPr>
            <p:ph sz="quarter" idx="13" hasCustomPrompt="1"/>
          </p:nvPr>
        </p:nvSpPr>
        <p:spPr>
          <a:xfrm>
            <a:off x="432001" y="1080000"/>
            <a:ext cx="7281749" cy="3456000"/>
          </a:xfrm>
        </p:spPr>
        <p:txBody>
          <a:bodyPr/>
          <a:lstStyle>
            <a:lvl1pPr>
              <a:defRPr>
                <a:solidFill>
                  <a:srgbClr val="3C3C3C"/>
                </a:solidFill>
              </a:defRPr>
            </a:lvl1pPr>
            <a:lvl2pPr marL="336947" marR="0" indent="-158354" algn="l" defTabSz="6858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FD500"/>
              </a:buClr>
              <a:buSzPct val="110000"/>
              <a:buFont typeface="Arial" pitchFamily="34" charset="0"/>
              <a:buChar char="•"/>
              <a:tabLst/>
              <a:defRPr lang="sv-SE" baseline="0" smtClean="0">
                <a:solidFill>
                  <a:srgbClr val="3C3C3C"/>
                </a:solidFill>
              </a:defRPr>
            </a:lvl2pPr>
            <a:lvl3pPr>
              <a:buClr>
                <a:srgbClr val="FFD500"/>
              </a:buClr>
              <a:defRPr>
                <a:solidFill>
                  <a:srgbClr val="3C3C3C"/>
                </a:solidFill>
              </a:defRPr>
            </a:lvl3pPr>
            <a:lvl4pPr>
              <a:buClr>
                <a:srgbClr val="FFD500"/>
              </a:buClr>
              <a:defRPr>
                <a:solidFill>
                  <a:srgbClr val="3C3C3C"/>
                </a:solidFill>
              </a:defRPr>
            </a:lvl4pPr>
            <a:lvl5pPr>
              <a:buClr>
                <a:srgbClr val="FFD500"/>
              </a:buClr>
              <a:defRPr>
                <a:solidFill>
                  <a:srgbClr val="3C3C3C"/>
                </a:solidFill>
              </a:defRPr>
            </a:lvl5pPr>
          </a:lstStyle>
          <a:p>
            <a:pPr lvl="0"/>
            <a:r>
              <a:rPr lang="en-GB" noProof="0" dirty="0"/>
              <a:t>Bullet point</a:t>
            </a:r>
          </a:p>
          <a:p>
            <a:pPr lvl="1"/>
            <a:r>
              <a:rPr lang="en-GB" noProof="0" dirty="0"/>
              <a:t>Bullet point subcategory</a:t>
            </a:r>
          </a:p>
          <a:p>
            <a:pPr lvl="2"/>
            <a:r>
              <a:rPr lang="en-GB" noProof="0" dirty="0"/>
              <a:t>Bullet point subcategory</a:t>
            </a:r>
          </a:p>
          <a:p>
            <a:pPr lvl="3"/>
            <a:r>
              <a:rPr lang="en-GB" noProof="0" dirty="0"/>
              <a:t>Bullet point subcategory</a:t>
            </a:r>
          </a:p>
          <a:p>
            <a:pPr lvl="4"/>
            <a:r>
              <a:rPr lang="en-GB" noProof="0" dirty="0"/>
              <a:t>Bullet point subcategory</a:t>
            </a:r>
          </a:p>
        </p:txBody>
      </p:sp>
      <p:sp>
        <p:nvSpPr>
          <p:cNvPr id="9" name="Platshållare för bildnummer 5">
            <a:extLst>
              <a:ext uri="{FF2B5EF4-FFF2-40B4-BE49-F238E27FC236}">
                <a16:creationId xmlns:a16="http://schemas.microsoft.com/office/drawing/2014/main" id="{283050CA-ABE3-4FB7-8ACF-EDC404CB833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32000" y="4830367"/>
            <a:ext cx="434242" cy="23661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lang="sv-SE" sz="600" smtClean="0">
                <a:solidFill>
                  <a:srgbClr val="3C3C3C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1A49F53B-68F7-402D-8883-CC8AD69B34F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Rectangle 4">
            <a:extLst>
              <a:ext uri="{FF2B5EF4-FFF2-40B4-BE49-F238E27FC236}">
                <a16:creationId xmlns:a16="http://schemas.microsoft.com/office/drawing/2014/main" id="{A4380BB5-C677-4AC7-A1BF-D3506F3D0B01}"/>
              </a:ext>
            </a:extLst>
          </p:cNvPr>
          <p:cNvSpPr>
            <a:spLocks noGrp="1" noChangeArrowheads="1"/>
          </p:cNvSpPr>
          <p:nvPr>
            <p:ph type="dt" sz="half" idx="2"/>
          </p:nvPr>
        </p:nvSpPr>
        <p:spPr>
          <a:xfrm>
            <a:off x="7805739" y="4794250"/>
            <a:ext cx="881062" cy="27272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sv-SE" sz="600" smtClean="0">
                <a:solidFill>
                  <a:srgbClr val="3C3C3C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/>
              <a:t>15 March, 2023</a:t>
            </a:r>
            <a:endParaRPr lang="en-GB" dirty="0"/>
          </a:p>
        </p:txBody>
      </p:sp>
      <p:sp>
        <p:nvSpPr>
          <p:cNvPr id="11" name="Platshållare för sidfot 4">
            <a:extLst>
              <a:ext uri="{FF2B5EF4-FFF2-40B4-BE49-F238E27FC236}">
                <a16:creationId xmlns:a16="http://schemas.microsoft.com/office/drawing/2014/main" id="{91E71F3E-070A-4212-8E3A-C34ADF5592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59860" y="4794250"/>
            <a:ext cx="6153890" cy="27272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lang="en-GB" sz="600" dirty="0">
                <a:solidFill>
                  <a:srgbClr val="3C3C3C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©2023 Nynas. All rights reserved.</a:t>
            </a:r>
            <a:endParaRPr lang="sv-SE" dirty="0"/>
          </a:p>
        </p:txBody>
      </p:sp>
    </p:spTree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 with background_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objekt 5"/>
          <p:cNvPicPr>
            <a:picLocks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5527" t="-8918"/>
          <a:stretch/>
        </p:blipFill>
        <p:spPr>
          <a:xfrm>
            <a:off x="6925832" y="2457450"/>
            <a:ext cx="2218168" cy="2686052"/>
          </a:xfrm>
          <a:prstGeom prst="rect">
            <a:avLst/>
          </a:prstGeom>
        </p:spPr>
      </p:pic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3C3C3C"/>
                </a:solidFill>
              </a:defRPr>
            </a:lvl1pPr>
          </a:lstStyle>
          <a:p>
            <a:r>
              <a:rPr lang="en-GB" noProof="0" dirty="0"/>
              <a:t>Header</a:t>
            </a:r>
          </a:p>
        </p:txBody>
      </p:sp>
      <p:sp>
        <p:nvSpPr>
          <p:cNvPr id="9" name="Platshållare för bildnummer 5">
            <a:extLst>
              <a:ext uri="{FF2B5EF4-FFF2-40B4-BE49-F238E27FC236}">
                <a16:creationId xmlns:a16="http://schemas.microsoft.com/office/drawing/2014/main" id="{619589F1-11FF-4336-9D43-8F07E00DFD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32000" y="4830367"/>
            <a:ext cx="434242" cy="23661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lang="sv-SE" sz="600" smtClean="0">
                <a:solidFill>
                  <a:srgbClr val="3C3C3C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1A49F53B-68F7-402D-8883-CC8AD69B34F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Rectangle 4">
            <a:extLst>
              <a:ext uri="{FF2B5EF4-FFF2-40B4-BE49-F238E27FC236}">
                <a16:creationId xmlns:a16="http://schemas.microsoft.com/office/drawing/2014/main" id="{3A22ED63-D6DB-4BC7-BACF-22FB2912BEB2}"/>
              </a:ext>
            </a:extLst>
          </p:cNvPr>
          <p:cNvSpPr>
            <a:spLocks noGrp="1" noChangeArrowheads="1"/>
          </p:cNvSpPr>
          <p:nvPr>
            <p:ph type="dt" sz="half" idx="2"/>
          </p:nvPr>
        </p:nvSpPr>
        <p:spPr>
          <a:xfrm>
            <a:off x="7805739" y="4794250"/>
            <a:ext cx="881062" cy="27272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sv-SE" sz="600" smtClean="0">
                <a:solidFill>
                  <a:srgbClr val="3C3C3C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/>
              <a:t>15 March, 2023</a:t>
            </a:r>
            <a:endParaRPr lang="en-GB" dirty="0"/>
          </a:p>
        </p:txBody>
      </p:sp>
      <p:sp>
        <p:nvSpPr>
          <p:cNvPr id="11" name="Platshållare för sidfot 4">
            <a:extLst>
              <a:ext uri="{FF2B5EF4-FFF2-40B4-BE49-F238E27FC236}">
                <a16:creationId xmlns:a16="http://schemas.microsoft.com/office/drawing/2014/main" id="{CEFCD728-A359-4C20-B2A6-4632D79E47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59860" y="4794250"/>
            <a:ext cx="6153890" cy="27272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lang="en-GB" sz="600" dirty="0">
                <a:solidFill>
                  <a:srgbClr val="3C3C3C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©2023 Nynas. All rights reserved.</a:t>
            </a:r>
            <a:endParaRPr lang="sv-SE" dirty="0"/>
          </a:p>
        </p:txBody>
      </p:sp>
      <p:sp>
        <p:nvSpPr>
          <p:cNvPr id="12" name="Platshållare för innehåll 7">
            <a:extLst>
              <a:ext uri="{FF2B5EF4-FFF2-40B4-BE49-F238E27FC236}">
                <a16:creationId xmlns:a16="http://schemas.microsoft.com/office/drawing/2014/main" id="{D11F7577-7EA7-4A90-A735-20EFC687BCE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32001" y="1080000"/>
            <a:ext cx="7281749" cy="3456000"/>
          </a:xfrm>
        </p:spPr>
        <p:txBody>
          <a:bodyPr/>
          <a:lstStyle>
            <a:lvl1pPr>
              <a:defRPr>
                <a:solidFill>
                  <a:srgbClr val="3C3C3C"/>
                </a:solidFill>
              </a:defRPr>
            </a:lvl1pPr>
            <a:lvl2pPr marL="336947" marR="0" indent="-158354" algn="l" defTabSz="6858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FD500"/>
              </a:buClr>
              <a:buSzPct val="110000"/>
              <a:buFont typeface="Arial" pitchFamily="34" charset="0"/>
              <a:buChar char="•"/>
              <a:tabLst/>
              <a:defRPr lang="sv-SE" baseline="0" smtClean="0">
                <a:solidFill>
                  <a:srgbClr val="3C3C3C"/>
                </a:solidFill>
              </a:defRPr>
            </a:lvl2pPr>
            <a:lvl3pPr>
              <a:buClr>
                <a:srgbClr val="FFD500"/>
              </a:buClr>
              <a:defRPr>
                <a:solidFill>
                  <a:srgbClr val="3C3C3C"/>
                </a:solidFill>
              </a:defRPr>
            </a:lvl3pPr>
            <a:lvl4pPr>
              <a:buClr>
                <a:srgbClr val="FFD500"/>
              </a:buClr>
              <a:defRPr>
                <a:solidFill>
                  <a:srgbClr val="3C3C3C"/>
                </a:solidFill>
              </a:defRPr>
            </a:lvl4pPr>
            <a:lvl5pPr>
              <a:buClr>
                <a:srgbClr val="FFD500"/>
              </a:buClr>
              <a:defRPr>
                <a:solidFill>
                  <a:srgbClr val="3C3C3C"/>
                </a:solidFill>
              </a:defRPr>
            </a:lvl5pPr>
          </a:lstStyle>
          <a:p>
            <a:pPr lvl="0"/>
            <a:r>
              <a:rPr lang="en-GB" noProof="0" dirty="0"/>
              <a:t>Bullet point</a:t>
            </a:r>
          </a:p>
          <a:p>
            <a:pPr lvl="1"/>
            <a:r>
              <a:rPr lang="en-GB" noProof="0" dirty="0"/>
              <a:t>Bullet point subcategory</a:t>
            </a:r>
          </a:p>
          <a:p>
            <a:pPr lvl="2"/>
            <a:r>
              <a:rPr lang="en-GB" noProof="0" dirty="0"/>
              <a:t>Bullet point subcategory</a:t>
            </a:r>
          </a:p>
          <a:p>
            <a:pPr lvl="3"/>
            <a:r>
              <a:rPr lang="en-GB" noProof="0" dirty="0"/>
              <a:t>Bullet point subcategory</a:t>
            </a:r>
          </a:p>
          <a:p>
            <a:pPr lvl="4"/>
            <a:r>
              <a:rPr lang="en-GB" noProof="0" dirty="0"/>
              <a:t>Bullet point subcategory</a:t>
            </a:r>
          </a:p>
        </p:txBody>
      </p:sp>
    </p:spTree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lt. front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objekt 3">
            <a:extLst>
              <a:ext uri="{FF2B5EF4-FFF2-40B4-BE49-F238E27FC236}">
                <a16:creationId xmlns:a16="http://schemas.microsoft.com/office/drawing/2014/main" id="{68CA7F2F-EB06-416E-A0A0-5FF3DD6F672F}"/>
              </a:ext>
            </a:extLst>
          </p:cNvPr>
          <p:cNvPicPr>
            <a:picLocks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5792" y="34536"/>
            <a:ext cx="8392416" cy="3802150"/>
          </a:xfrm>
          <a:prstGeom prst="rect">
            <a:avLst/>
          </a:prstGeom>
        </p:spPr>
      </p:pic>
      <p:pic>
        <p:nvPicPr>
          <p:cNvPr id="5" name="Bildobjekt 4" descr="Nynas_logo.png">
            <a:extLst>
              <a:ext uri="{FF2B5EF4-FFF2-40B4-BE49-F238E27FC236}">
                <a16:creationId xmlns:a16="http://schemas.microsoft.com/office/drawing/2014/main" id="{B931078F-F55A-4B6C-A2E2-F3D62059AACF}"/>
              </a:ext>
            </a:extLst>
          </p:cNvPr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57221" y="4000312"/>
            <a:ext cx="1628775" cy="11431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004087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42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 with background_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objekt 5" descr="roofing felt 2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257800" y="4292420"/>
            <a:ext cx="3886200" cy="851080"/>
          </a:xfrm>
          <a:prstGeom prst="rect">
            <a:avLst/>
          </a:prstGeom>
        </p:spPr>
      </p:pic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3C3C3C"/>
                </a:solidFill>
              </a:defRPr>
            </a:lvl1pPr>
          </a:lstStyle>
          <a:p>
            <a:r>
              <a:rPr lang="en-GB" noProof="0" dirty="0"/>
              <a:t>Header</a:t>
            </a:r>
          </a:p>
        </p:txBody>
      </p:sp>
      <p:sp>
        <p:nvSpPr>
          <p:cNvPr id="8" name="Platshållare för innehåll 7"/>
          <p:cNvSpPr>
            <a:spLocks noGrp="1"/>
          </p:cNvSpPr>
          <p:nvPr>
            <p:ph sz="quarter" idx="13" hasCustomPrompt="1"/>
          </p:nvPr>
        </p:nvSpPr>
        <p:spPr>
          <a:xfrm>
            <a:off x="432000" y="1080000"/>
            <a:ext cx="8280000" cy="3212420"/>
          </a:xfrm>
        </p:spPr>
        <p:txBody>
          <a:bodyPr/>
          <a:lstStyle>
            <a:lvl1pPr>
              <a:defRPr>
                <a:solidFill>
                  <a:srgbClr val="3C3C3C"/>
                </a:solidFill>
              </a:defRPr>
            </a:lvl1pPr>
            <a:lvl2pPr marL="336947" marR="0" indent="-158354" algn="l" defTabSz="6858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FD500"/>
              </a:buClr>
              <a:buSzPct val="110000"/>
              <a:buFont typeface="Arial" pitchFamily="34" charset="0"/>
              <a:buChar char="•"/>
              <a:tabLst/>
              <a:defRPr lang="sv-SE" baseline="0" smtClean="0">
                <a:solidFill>
                  <a:srgbClr val="3C3C3C"/>
                </a:solidFill>
              </a:defRPr>
            </a:lvl2pPr>
            <a:lvl3pPr>
              <a:buClr>
                <a:srgbClr val="FFD500"/>
              </a:buClr>
              <a:defRPr>
                <a:solidFill>
                  <a:srgbClr val="3C3C3C"/>
                </a:solidFill>
              </a:defRPr>
            </a:lvl3pPr>
            <a:lvl4pPr>
              <a:buClr>
                <a:srgbClr val="FFD500"/>
              </a:buClr>
              <a:defRPr>
                <a:solidFill>
                  <a:srgbClr val="3C3C3C"/>
                </a:solidFill>
              </a:defRPr>
            </a:lvl4pPr>
            <a:lvl5pPr>
              <a:buClr>
                <a:srgbClr val="FFD500"/>
              </a:buClr>
              <a:defRPr>
                <a:solidFill>
                  <a:srgbClr val="3C3C3C"/>
                </a:solidFill>
              </a:defRPr>
            </a:lvl5pPr>
          </a:lstStyle>
          <a:p>
            <a:pPr lvl="0"/>
            <a:r>
              <a:rPr lang="en-GB" noProof="0" dirty="0"/>
              <a:t>Bullet point</a:t>
            </a:r>
          </a:p>
          <a:p>
            <a:pPr lvl="1"/>
            <a:r>
              <a:rPr lang="en-GB" noProof="0" dirty="0"/>
              <a:t>Bullet point subcategory</a:t>
            </a:r>
          </a:p>
          <a:p>
            <a:pPr lvl="2"/>
            <a:r>
              <a:rPr lang="en-GB" noProof="0" dirty="0"/>
              <a:t>Bullet point subcategory</a:t>
            </a:r>
          </a:p>
          <a:p>
            <a:pPr lvl="3"/>
            <a:r>
              <a:rPr lang="en-GB" noProof="0" dirty="0"/>
              <a:t>Bullet point subcategory</a:t>
            </a:r>
          </a:p>
          <a:p>
            <a:pPr lvl="4"/>
            <a:r>
              <a:rPr lang="en-GB" noProof="0" dirty="0"/>
              <a:t>Bullet point subcategory</a:t>
            </a:r>
          </a:p>
        </p:txBody>
      </p:sp>
      <p:sp>
        <p:nvSpPr>
          <p:cNvPr id="9" name="Platshållare för bildnummer 5">
            <a:extLst>
              <a:ext uri="{FF2B5EF4-FFF2-40B4-BE49-F238E27FC236}">
                <a16:creationId xmlns:a16="http://schemas.microsoft.com/office/drawing/2014/main" id="{E7D683BA-953A-4D55-B413-6561644F6B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32000" y="4830367"/>
            <a:ext cx="434242" cy="23661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lang="sv-SE" sz="600" smtClean="0">
                <a:solidFill>
                  <a:srgbClr val="3C3C3C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1A49F53B-68F7-402D-8883-CC8AD69B34F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Rectangle 4">
            <a:extLst>
              <a:ext uri="{FF2B5EF4-FFF2-40B4-BE49-F238E27FC236}">
                <a16:creationId xmlns:a16="http://schemas.microsoft.com/office/drawing/2014/main" id="{B4268DCD-431D-4ACA-AB17-19A3CEEA6DFB}"/>
              </a:ext>
            </a:extLst>
          </p:cNvPr>
          <p:cNvSpPr>
            <a:spLocks noGrp="1" noChangeArrowheads="1"/>
          </p:cNvSpPr>
          <p:nvPr>
            <p:ph type="dt" sz="half" idx="2"/>
          </p:nvPr>
        </p:nvSpPr>
        <p:spPr>
          <a:xfrm>
            <a:off x="7805739" y="4794250"/>
            <a:ext cx="881062" cy="27272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sv-SE" sz="600" smtClean="0">
                <a:solidFill>
                  <a:srgbClr val="3C3C3C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/>
              <a:t>15 March, 2023</a:t>
            </a:r>
            <a:endParaRPr lang="en-GB" dirty="0"/>
          </a:p>
        </p:txBody>
      </p:sp>
      <p:sp>
        <p:nvSpPr>
          <p:cNvPr id="11" name="Platshållare för sidfot 4">
            <a:extLst>
              <a:ext uri="{FF2B5EF4-FFF2-40B4-BE49-F238E27FC236}">
                <a16:creationId xmlns:a16="http://schemas.microsoft.com/office/drawing/2014/main" id="{422C0897-DA2D-4C02-BD56-B878100C589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59860" y="4794250"/>
            <a:ext cx="6153890" cy="27272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lang="en-GB" sz="600" dirty="0">
                <a:solidFill>
                  <a:srgbClr val="3C3C3C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©2023 Nynas. All rights reserved.</a:t>
            </a:r>
            <a:endParaRPr lang="sv-SE" dirty="0"/>
          </a:p>
        </p:txBody>
      </p:sp>
    </p:spTree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 with background_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objekt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4444101"/>
            <a:ext cx="9144000" cy="699399"/>
          </a:xfrm>
          <a:prstGeom prst="rect">
            <a:avLst/>
          </a:prstGeom>
        </p:spPr>
      </p:pic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3C3C3C"/>
                </a:solidFill>
              </a:defRPr>
            </a:lvl1pPr>
          </a:lstStyle>
          <a:p>
            <a:r>
              <a:rPr lang="en-GB" noProof="0" dirty="0"/>
              <a:t>Header</a:t>
            </a:r>
          </a:p>
        </p:txBody>
      </p:sp>
      <p:sp>
        <p:nvSpPr>
          <p:cNvPr id="7" name="Platshållare för innehåll 7"/>
          <p:cNvSpPr>
            <a:spLocks noGrp="1"/>
          </p:cNvSpPr>
          <p:nvPr>
            <p:ph sz="quarter" idx="13" hasCustomPrompt="1"/>
          </p:nvPr>
        </p:nvSpPr>
        <p:spPr>
          <a:xfrm>
            <a:off x="432000" y="1080000"/>
            <a:ext cx="8280000" cy="3287580"/>
          </a:xfrm>
        </p:spPr>
        <p:txBody>
          <a:bodyPr/>
          <a:lstStyle>
            <a:lvl1pPr>
              <a:defRPr>
                <a:solidFill>
                  <a:srgbClr val="3C3C3C"/>
                </a:solidFill>
              </a:defRPr>
            </a:lvl1pPr>
            <a:lvl2pPr marL="336947" marR="0" indent="-158354" algn="l" defTabSz="6858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FD500"/>
              </a:buClr>
              <a:buSzPct val="110000"/>
              <a:buFont typeface="Arial" pitchFamily="34" charset="0"/>
              <a:buChar char="•"/>
              <a:tabLst/>
              <a:defRPr lang="sv-SE" baseline="0" smtClean="0">
                <a:solidFill>
                  <a:srgbClr val="3C3C3C"/>
                </a:solidFill>
              </a:defRPr>
            </a:lvl2pPr>
            <a:lvl3pPr>
              <a:buClr>
                <a:srgbClr val="FFD500"/>
              </a:buClr>
              <a:defRPr>
                <a:solidFill>
                  <a:srgbClr val="3C3C3C"/>
                </a:solidFill>
              </a:defRPr>
            </a:lvl3pPr>
            <a:lvl4pPr>
              <a:buClr>
                <a:srgbClr val="FFD500"/>
              </a:buClr>
              <a:defRPr>
                <a:solidFill>
                  <a:srgbClr val="3C3C3C"/>
                </a:solidFill>
              </a:defRPr>
            </a:lvl4pPr>
            <a:lvl5pPr>
              <a:buClr>
                <a:srgbClr val="FFD500"/>
              </a:buClr>
              <a:defRPr>
                <a:solidFill>
                  <a:srgbClr val="3C3C3C"/>
                </a:solidFill>
              </a:defRPr>
            </a:lvl5pPr>
          </a:lstStyle>
          <a:p>
            <a:pPr lvl="0"/>
            <a:r>
              <a:rPr lang="en-GB" noProof="0" dirty="0"/>
              <a:t>Bullet point</a:t>
            </a:r>
          </a:p>
          <a:p>
            <a:pPr lvl="1"/>
            <a:r>
              <a:rPr lang="en-GB" noProof="0" dirty="0"/>
              <a:t>Bullet point subcategory</a:t>
            </a:r>
          </a:p>
          <a:p>
            <a:pPr lvl="2"/>
            <a:r>
              <a:rPr lang="en-GB" noProof="0" dirty="0"/>
              <a:t>Bullet point subcategory</a:t>
            </a:r>
          </a:p>
          <a:p>
            <a:pPr lvl="3"/>
            <a:r>
              <a:rPr lang="en-GB" noProof="0" dirty="0"/>
              <a:t>Bullet point subcategory</a:t>
            </a:r>
          </a:p>
          <a:p>
            <a:pPr lvl="4"/>
            <a:r>
              <a:rPr lang="en-GB" noProof="0" dirty="0"/>
              <a:t>Bullet point subcategory</a:t>
            </a:r>
          </a:p>
        </p:txBody>
      </p:sp>
      <p:sp>
        <p:nvSpPr>
          <p:cNvPr id="9" name="Platshållare för bildnummer 5">
            <a:extLst>
              <a:ext uri="{FF2B5EF4-FFF2-40B4-BE49-F238E27FC236}">
                <a16:creationId xmlns:a16="http://schemas.microsoft.com/office/drawing/2014/main" id="{2AF82A68-1932-4794-80CC-36F6FC5EE7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32000" y="4830367"/>
            <a:ext cx="434242" cy="23661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lang="sv-SE" sz="60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1A49F53B-68F7-402D-8883-CC8AD69B34F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Rectangle 4">
            <a:extLst>
              <a:ext uri="{FF2B5EF4-FFF2-40B4-BE49-F238E27FC236}">
                <a16:creationId xmlns:a16="http://schemas.microsoft.com/office/drawing/2014/main" id="{C4084060-DD4A-444E-882E-78B28298A504}"/>
              </a:ext>
            </a:extLst>
          </p:cNvPr>
          <p:cNvSpPr>
            <a:spLocks noGrp="1" noChangeArrowheads="1"/>
          </p:cNvSpPr>
          <p:nvPr>
            <p:ph type="dt" sz="half" idx="2"/>
          </p:nvPr>
        </p:nvSpPr>
        <p:spPr>
          <a:xfrm>
            <a:off x="7805739" y="4794250"/>
            <a:ext cx="881062" cy="27272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sv-SE" sz="60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/>
              <a:t>15 March, 2023</a:t>
            </a:r>
            <a:endParaRPr lang="en-GB" dirty="0"/>
          </a:p>
        </p:txBody>
      </p:sp>
      <p:sp>
        <p:nvSpPr>
          <p:cNvPr id="11" name="Platshållare för sidfot 4">
            <a:extLst>
              <a:ext uri="{FF2B5EF4-FFF2-40B4-BE49-F238E27FC236}">
                <a16:creationId xmlns:a16="http://schemas.microsoft.com/office/drawing/2014/main" id="{B5A4AD81-0F3F-4553-9D03-81F262FCAC8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59860" y="4794250"/>
            <a:ext cx="6153890" cy="27272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lang="en-GB" sz="6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©2023 Nynas. All rights reserved.</a:t>
            </a:r>
            <a:endParaRPr lang="sv-SE"/>
          </a:p>
        </p:txBody>
      </p:sp>
    </p:spTree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objekt 6" descr="Nynas_logo.png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55634" y="3565006"/>
            <a:ext cx="2320538" cy="1628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7169760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. 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latshållare för bild 11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066800"/>
            <a:ext cx="9144000" cy="4076700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algn="ctr">
              <a:buFont typeface="Arial" pitchFamily="34" charset="0"/>
              <a:buNone/>
              <a:defRPr>
                <a:solidFill>
                  <a:srgbClr val="3C3C3C"/>
                </a:solidFill>
              </a:defRPr>
            </a:lvl1pPr>
          </a:lstStyle>
          <a:p>
            <a:r>
              <a:rPr lang="en-GB" noProof="0" dirty="0"/>
              <a:t>Image</a:t>
            </a:r>
          </a:p>
        </p:txBody>
      </p:sp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er</a:t>
            </a:r>
          </a:p>
        </p:txBody>
      </p:sp>
      <p:sp>
        <p:nvSpPr>
          <p:cNvPr id="8" name="Platshållare för bildnummer 7"/>
          <p:cNvSpPr>
            <a:spLocks noGrp="1"/>
          </p:cNvSpPr>
          <p:nvPr>
            <p:ph type="sldNum" sz="quarter" idx="11"/>
          </p:nvPr>
        </p:nvSpPr>
        <p:spPr>
          <a:xfrm>
            <a:off x="224214" y="4830367"/>
            <a:ext cx="434242" cy="236612"/>
          </a:xfrm>
          <a:prstGeom prst="rect">
            <a:avLst/>
          </a:prstGeom>
        </p:spPr>
        <p:txBody>
          <a:bodyPr/>
          <a:lstStyle/>
          <a:p>
            <a:fld id="{1A49F53B-68F7-402D-8883-CC8AD69B34F2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sp>
        <p:nvSpPr>
          <p:cNvPr id="14" name="Platshållare för text 13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547336"/>
            <a:ext cx="9144000" cy="1462088"/>
          </a:xfrm>
        </p:spPr>
        <p:txBody>
          <a:bodyPr/>
          <a:lstStyle>
            <a:lvl1pPr marL="0" indent="0" algn="ctr">
              <a:buFont typeface="Arial"/>
              <a:buNone/>
              <a:defRPr>
                <a:solidFill>
                  <a:srgbClr val="3C3C3C"/>
                </a:solidFill>
              </a:defRPr>
            </a:lvl1pPr>
            <a:lvl2pPr marL="201216" indent="0" algn="ctr">
              <a:buNone/>
              <a:defRPr/>
            </a:lvl2pPr>
            <a:lvl3pPr marL="403622" indent="0" algn="ctr">
              <a:buNone/>
              <a:defRPr/>
            </a:lvl3pPr>
            <a:lvl4pPr marL="604838" indent="0" algn="ctr">
              <a:buNone/>
              <a:defRPr/>
            </a:lvl4pPr>
            <a:lvl5pPr marL="807244" indent="0" algn="ctr">
              <a:buNone/>
              <a:defRPr/>
            </a:lvl5pPr>
          </a:lstStyle>
          <a:p>
            <a:pPr lvl="0"/>
            <a:r>
              <a:rPr lang="en-GB" noProof="0" dirty="0" err="1"/>
              <a:t>Subheader</a:t>
            </a:r>
            <a:endParaRPr lang="en-GB" noProof="0" dirty="0"/>
          </a:p>
        </p:txBody>
      </p:sp>
      <p:sp>
        <p:nvSpPr>
          <p:cNvPr id="9" name="Rectangle 4">
            <a:extLst>
              <a:ext uri="{FF2B5EF4-FFF2-40B4-BE49-F238E27FC236}">
                <a16:creationId xmlns:a16="http://schemas.microsoft.com/office/drawing/2014/main" id="{9DE2AAC1-2F52-4087-B1B2-408848A9C24B}"/>
              </a:ext>
            </a:extLst>
          </p:cNvPr>
          <p:cNvSpPr>
            <a:spLocks noGrp="1" noChangeArrowheads="1"/>
          </p:cNvSpPr>
          <p:nvPr>
            <p:ph type="dt" sz="half" idx="2"/>
          </p:nvPr>
        </p:nvSpPr>
        <p:spPr>
          <a:xfrm>
            <a:off x="7805739" y="4794250"/>
            <a:ext cx="881062" cy="27272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sv-SE" sz="600" smtClean="0">
                <a:solidFill>
                  <a:srgbClr val="3C3C3C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/>
              <a:t>15 March, 2023</a:t>
            </a:r>
            <a:endParaRPr lang="en-GB" dirty="0"/>
          </a:p>
        </p:txBody>
      </p:sp>
      <p:sp>
        <p:nvSpPr>
          <p:cNvPr id="10" name="Platshållare för sidfot 4">
            <a:extLst>
              <a:ext uri="{FF2B5EF4-FFF2-40B4-BE49-F238E27FC236}">
                <a16:creationId xmlns:a16="http://schemas.microsoft.com/office/drawing/2014/main" id="{772C0321-5BC7-4AB8-8DDA-026724A262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59860" y="4794250"/>
            <a:ext cx="6153890" cy="27272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lang="en-GB" sz="600" dirty="0">
                <a:solidFill>
                  <a:srgbClr val="3C3C3C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©2023 Nynas. All rights reserved.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228755742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lt. front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 descr="En bild som visar inomhus&#10;&#10;Beskrivning genererad med hög exakthet">
            <a:extLst>
              <a:ext uri="{FF2B5EF4-FFF2-40B4-BE49-F238E27FC236}">
                <a16:creationId xmlns:a16="http://schemas.microsoft.com/office/drawing/2014/main" id="{6EBD1BB5-378C-4CEA-9B1E-90039A67191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6859" y="426174"/>
            <a:ext cx="6750695" cy="3786368"/>
          </a:xfrm>
          <a:prstGeom prst="rect">
            <a:avLst/>
          </a:prstGeom>
        </p:spPr>
      </p:pic>
      <p:pic>
        <p:nvPicPr>
          <p:cNvPr id="4" name="Bildobjekt 3" descr="Nynas_logo.png">
            <a:extLst>
              <a:ext uri="{FF2B5EF4-FFF2-40B4-BE49-F238E27FC236}">
                <a16:creationId xmlns:a16="http://schemas.microsoft.com/office/drawing/2014/main" id="{09FE6C9E-4A60-408B-B984-C23D2DD4BCD9}"/>
              </a:ext>
            </a:extLst>
          </p:cNvPr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57221" y="4000312"/>
            <a:ext cx="1628775" cy="11431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3040319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innehåll 7"/>
          <p:cNvSpPr>
            <a:spLocks noGrp="1"/>
          </p:cNvSpPr>
          <p:nvPr>
            <p:ph sz="quarter" idx="13" hasCustomPrompt="1"/>
          </p:nvPr>
        </p:nvSpPr>
        <p:spPr>
          <a:xfrm>
            <a:off x="432000" y="1080000"/>
            <a:ext cx="8280000" cy="3456000"/>
          </a:xfrm>
        </p:spPr>
        <p:txBody>
          <a:bodyPr/>
          <a:lstStyle>
            <a:lvl1pPr>
              <a:defRPr>
                <a:solidFill>
                  <a:srgbClr val="3C3C3C"/>
                </a:solidFill>
              </a:defRPr>
            </a:lvl1pPr>
            <a:lvl2pPr marL="336947" marR="0" indent="-158354" algn="l" defTabSz="6858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FD500"/>
              </a:buClr>
              <a:buSzPct val="110000"/>
              <a:buFont typeface="Arial" pitchFamily="34" charset="0"/>
              <a:buChar char="•"/>
              <a:tabLst/>
              <a:defRPr lang="sv-SE" baseline="0" smtClean="0">
                <a:solidFill>
                  <a:srgbClr val="3C3C3C"/>
                </a:solidFill>
              </a:defRPr>
            </a:lvl2pPr>
            <a:lvl3pPr>
              <a:buClr>
                <a:srgbClr val="FFD500"/>
              </a:buClr>
              <a:defRPr>
                <a:solidFill>
                  <a:srgbClr val="3C3C3C"/>
                </a:solidFill>
              </a:defRPr>
            </a:lvl3pPr>
            <a:lvl4pPr>
              <a:buClr>
                <a:srgbClr val="FFD500"/>
              </a:buClr>
              <a:defRPr>
                <a:solidFill>
                  <a:srgbClr val="3C3C3C"/>
                </a:solidFill>
              </a:defRPr>
            </a:lvl4pPr>
            <a:lvl5pPr>
              <a:buClr>
                <a:srgbClr val="FFD500"/>
              </a:buClr>
              <a:defRPr>
                <a:solidFill>
                  <a:srgbClr val="3C3C3C"/>
                </a:solidFill>
              </a:defRPr>
            </a:lvl5pPr>
          </a:lstStyle>
          <a:p>
            <a:pPr lvl="0"/>
            <a:r>
              <a:rPr lang="en-GB" noProof="0" dirty="0"/>
              <a:t>Bullet point</a:t>
            </a:r>
          </a:p>
          <a:p>
            <a:pPr lvl="1"/>
            <a:r>
              <a:rPr lang="en-GB" noProof="0" dirty="0"/>
              <a:t>Bullet point subcategory</a:t>
            </a:r>
          </a:p>
          <a:p>
            <a:pPr lvl="2"/>
            <a:r>
              <a:rPr lang="en-GB" noProof="0" dirty="0"/>
              <a:t>Bullet point subcategory</a:t>
            </a:r>
          </a:p>
          <a:p>
            <a:pPr lvl="3"/>
            <a:r>
              <a:rPr lang="en-GB" noProof="0" dirty="0"/>
              <a:t>Bullet point subcategory</a:t>
            </a:r>
          </a:p>
          <a:p>
            <a:pPr lvl="4"/>
            <a:r>
              <a:rPr lang="en-GB" noProof="0" dirty="0"/>
              <a:t>Bullet point subcategory</a:t>
            </a:r>
          </a:p>
        </p:txBody>
      </p:sp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3C3C3C"/>
                </a:solidFill>
              </a:defRPr>
            </a:lvl1pPr>
          </a:lstStyle>
          <a:p>
            <a:r>
              <a:rPr lang="en-GB" noProof="0" dirty="0"/>
              <a:t>Header</a:t>
            </a:r>
          </a:p>
        </p:txBody>
      </p:sp>
      <p:sp>
        <p:nvSpPr>
          <p:cNvPr id="11" name="Platshållare för bildnummer 5">
            <a:extLst>
              <a:ext uri="{FF2B5EF4-FFF2-40B4-BE49-F238E27FC236}">
                <a16:creationId xmlns:a16="http://schemas.microsoft.com/office/drawing/2014/main" id="{00959B50-E1A7-4575-90FA-A519C38A0B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32000" y="4830367"/>
            <a:ext cx="434242" cy="23661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lang="sv-SE" sz="600" smtClean="0">
                <a:solidFill>
                  <a:srgbClr val="3C3C3C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1A49F53B-68F7-402D-8883-CC8AD69B34F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Rectangle 4">
            <a:extLst>
              <a:ext uri="{FF2B5EF4-FFF2-40B4-BE49-F238E27FC236}">
                <a16:creationId xmlns:a16="http://schemas.microsoft.com/office/drawing/2014/main" id="{A28382E0-A348-4EB0-8AD5-E73D40B272F6}"/>
              </a:ext>
            </a:extLst>
          </p:cNvPr>
          <p:cNvSpPr>
            <a:spLocks noGrp="1" noChangeArrowheads="1"/>
          </p:cNvSpPr>
          <p:nvPr>
            <p:ph type="dt" sz="half" idx="2"/>
          </p:nvPr>
        </p:nvSpPr>
        <p:spPr>
          <a:xfrm>
            <a:off x="7805739" y="4794250"/>
            <a:ext cx="881062" cy="27272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sv-SE" sz="600" smtClean="0">
                <a:solidFill>
                  <a:srgbClr val="3C3C3C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/>
              <a:t>15 March, 2023</a:t>
            </a:r>
            <a:endParaRPr lang="en-GB" dirty="0"/>
          </a:p>
        </p:txBody>
      </p:sp>
      <p:sp>
        <p:nvSpPr>
          <p:cNvPr id="13" name="Platshållare för sidfot 4">
            <a:extLst>
              <a:ext uri="{FF2B5EF4-FFF2-40B4-BE49-F238E27FC236}">
                <a16:creationId xmlns:a16="http://schemas.microsoft.com/office/drawing/2014/main" id="{C57D7E86-5E47-4B65-99EF-3234CC970C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59860" y="4794250"/>
            <a:ext cx="6153890" cy="27272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lang="en-GB" sz="600" dirty="0">
                <a:solidFill>
                  <a:srgbClr val="3C3C3C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©2023 Nynas. All rights reserved.</a:t>
            </a:r>
            <a:endParaRPr lang="sv-SE" dirty="0"/>
          </a:p>
        </p:txBody>
      </p:sp>
    </p:spTree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upp 5"/>
          <p:cNvGrpSpPr/>
          <p:nvPr userDrawn="1"/>
        </p:nvGrpSpPr>
        <p:grpSpPr>
          <a:xfrm>
            <a:off x="1601211" y="1620619"/>
            <a:ext cx="4868170" cy="1310775"/>
            <a:chOff x="1601210" y="2160825"/>
            <a:chExt cx="4868170" cy="1747700"/>
          </a:xfrm>
        </p:grpSpPr>
        <p:pic>
          <p:nvPicPr>
            <p:cNvPr id="7" name="Bildobjekt 6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4145280" y="2160825"/>
              <a:ext cx="2324100" cy="174770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Bildobjekt 8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1601210" y="2160825"/>
              <a:ext cx="4395730" cy="174770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2" name="Platshållare för text 11"/>
          <p:cNvSpPr>
            <a:spLocks noGrp="1"/>
          </p:cNvSpPr>
          <p:nvPr>
            <p:ph type="body" sz="quarter" idx="12" hasCustomPrompt="1"/>
          </p:nvPr>
        </p:nvSpPr>
        <p:spPr>
          <a:xfrm>
            <a:off x="1862973" y="1857590"/>
            <a:ext cx="4362568" cy="776764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itchFamily="34" charset="0"/>
              <a:buNone/>
              <a:defRPr sz="195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noProof="0" dirty="0"/>
              <a:t>Chapter header</a:t>
            </a:r>
          </a:p>
        </p:txBody>
      </p:sp>
      <p:sp>
        <p:nvSpPr>
          <p:cNvPr id="10" name="Platshållare för bildnummer 5">
            <a:extLst>
              <a:ext uri="{FF2B5EF4-FFF2-40B4-BE49-F238E27FC236}">
                <a16:creationId xmlns:a16="http://schemas.microsoft.com/office/drawing/2014/main" id="{FAF7C34A-1A33-4BA3-ACC7-A6501C6872C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32000" y="4830367"/>
            <a:ext cx="434242" cy="23661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lang="sv-SE" sz="600" smtClean="0">
                <a:solidFill>
                  <a:srgbClr val="3C3C3C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1A49F53B-68F7-402D-8883-CC8AD69B34F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Rectangle 4">
            <a:extLst>
              <a:ext uri="{FF2B5EF4-FFF2-40B4-BE49-F238E27FC236}">
                <a16:creationId xmlns:a16="http://schemas.microsoft.com/office/drawing/2014/main" id="{8194AA68-D833-4E04-AACB-B3B6580F2745}"/>
              </a:ext>
            </a:extLst>
          </p:cNvPr>
          <p:cNvSpPr>
            <a:spLocks noGrp="1" noChangeArrowheads="1"/>
          </p:cNvSpPr>
          <p:nvPr>
            <p:ph type="dt" sz="half" idx="2"/>
          </p:nvPr>
        </p:nvSpPr>
        <p:spPr>
          <a:xfrm>
            <a:off x="7805739" y="4794250"/>
            <a:ext cx="881062" cy="27272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sv-SE" sz="600" smtClean="0">
                <a:solidFill>
                  <a:srgbClr val="3C3C3C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/>
              <a:t>15 March, 2023</a:t>
            </a:r>
            <a:endParaRPr lang="en-GB" dirty="0"/>
          </a:p>
        </p:txBody>
      </p:sp>
      <p:sp>
        <p:nvSpPr>
          <p:cNvPr id="13" name="Platshållare för sidfot 4">
            <a:extLst>
              <a:ext uri="{FF2B5EF4-FFF2-40B4-BE49-F238E27FC236}">
                <a16:creationId xmlns:a16="http://schemas.microsoft.com/office/drawing/2014/main" id="{A8F537AE-279C-467B-9091-5551FF642FB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59860" y="4794250"/>
            <a:ext cx="6153890" cy="27272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lang="en-GB" sz="600" dirty="0">
                <a:solidFill>
                  <a:srgbClr val="3C3C3C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©2023 Nynas. All rights reserved.</a:t>
            </a:r>
            <a:endParaRPr lang="sv-SE" dirty="0"/>
          </a:p>
        </p:txBody>
      </p:sp>
    </p:spTree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 with background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objekt 6" descr="DROP1.pn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3892883" y="603584"/>
            <a:ext cx="647032" cy="8432801"/>
          </a:xfrm>
          <a:prstGeom prst="rect">
            <a:avLst/>
          </a:prstGeom>
        </p:spPr>
      </p:pic>
      <p:sp>
        <p:nvSpPr>
          <p:cNvPr id="11" name="Rubrik 1"/>
          <p:cNvSpPr>
            <a:spLocks noGrp="1"/>
          </p:cNvSpPr>
          <p:nvPr>
            <p:ph type="title" hasCustomPrompt="1"/>
          </p:nvPr>
        </p:nvSpPr>
        <p:spPr>
          <a:xfrm>
            <a:off x="432001" y="405000"/>
            <a:ext cx="7281749" cy="432000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er</a:t>
            </a:r>
          </a:p>
        </p:txBody>
      </p:sp>
      <p:sp>
        <p:nvSpPr>
          <p:cNvPr id="9" name="Platshållare för innehåll 7"/>
          <p:cNvSpPr>
            <a:spLocks noGrp="1"/>
          </p:cNvSpPr>
          <p:nvPr>
            <p:ph sz="quarter" idx="13" hasCustomPrompt="1"/>
          </p:nvPr>
        </p:nvSpPr>
        <p:spPr>
          <a:xfrm>
            <a:off x="432000" y="1080000"/>
            <a:ext cx="8280000" cy="3456000"/>
          </a:xfrm>
        </p:spPr>
        <p:txBody>
          <a:bodyPr/>
          <a:lstStyle>
            <a:lvl1pPr>
              <a:defRPr>
                <a:solidFill>
                  <a:srgbClr val="3C3C3C"/>
                </a:solidFill>
              </a:defRPr>
            </a:lvl1pPr>
            <a:lvl2pPr marL="336947" marR="0" indent="-158354" algn="l" defTabSz="6858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FD500"/>
              </a:buClr>
              <a:buSzPct val="110000"/>
              <a:buFont typeface="Arial" pitchFamily="34" charset="0"/>
              <a:buChar char="•"/>
              <a:tabLst/>
              <a:defRPr lang="sv-SE" baseline="0" smtClean="0">
                <a:solidFill>
                  <a:srgbClr val="3C3C3C"/>
                </a:solidFill>
              </a:defRPr>
            </a:lvl2pPr>
            <a:lvl3pPr>
              <a:buClr>
                <a:srgbClr val="FFD500"/>
              </a:buClr>
              <a:defRPr>
                <a:solidFill>
                  <a:srgbClr val="3C3C3C"/>
                </a:solidFill>
              </a:defRPr>
            </a:lvl3pPr>
            <a:lvl4pPr>
              <a:buClr>
                <a:srgbClr val="FFD500"/>
              </a:buClr>
              <a:defRPr>
                <a:solidFill>
                  <a:srgbClr val="3C3C3C"/>
                </a:solidFill>
              </a:defRPr>
            </a:lvl4pPr>
            <a:lvl5pPr>
              <a:buClr>
                <a:srgbClr val="FFD500"/>
              </a:buClr>
              <a:defRPr>
                <a:solidFill>
                  <a:srgbClr val="3C3C3C"/>
                </a:solidFill>
              </a:defRPr>
            </a:lvl5pPr>
          </a:lstStyle>
          <a:p>
            <a:pPr lvl="0"/>
            <a:r>
              <a:rPr lang="en-GB" noProof="0" dirty="0"/>
              <a:t>Bullet point</a:t>
            </a:r>
          </a:p>
          <a:p>
            <a:pPr lvl="1"/>
            <a:r>
              <a:rPr lang="en-GB" noProof="0" dirty="0"/>
              <a:t>Bullet point subcategory</a:t>
            </a:r>
          </a:p>
          <a:p>
            <a:pPr lvl="2"/>
            <a:r>
              <a:rPr lang="en-GB" noProof="0" dirty="0"/>
              <a:t>Bullet point subcategory</a:t>
            </a:r>
          </a:p>
          <a:p>
            <a:pPr lvl="3"/>
            <a:r>
              <a:rPr lang="en-GB" noProof="0" dirty="0"/>
              <a:t>Bullet point subcategory</a:t>
            </a:r>
          </a:p>
          <a:p>
            <a:pPr lvl="4"/>
            <a:r>
              <a:rPr lang="en-GB" noProof="0" dirty="0"/>
              <a:t>Bullet point subcategory</a:t>
            </a:r>
          </a:p>
        </p:txBody>
      </p:sp>
      <p:sp>
        <p:nvSpPr>
          <p:cNvPr id="10" name="Platshållare för bildnummer 5">
            <a:extLst>
              <a:ext uri="{FF2B5EF4-FFF2-40B4-BE49-F238E27FC236}">
                <a16:creationId xmlns:a16="http://schemas.microsoft.com/office/drawing/2014/main" id="{4417D230-D524-4F91-AA2B-DE76931FF2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32000" y="4830367"/>
            <a:ext cx="434242" cy="23661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lang="sv-SE" sz="600" smtClean="0">
                <a:solidFill>
                  <a:srgbClr val="3C3C3C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1A49F53B-68F7-402D-8883-CC8AD69B34F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Rectangle 4">
            <a:extLst>
              <a:ext uri="{FF2B5EF4-FFF2-40B4-BE49-F238E27FC236}">
                <a16:creationId xmlns:a16="http://schemas.microsoft.com/office/drawing/2014/main" id="{969E0E1A-11FB-48AC-9616-AE7AEB72CC0D}"/>
              </a:ext>
            </a:extLst>
          </p:cNvPr>
          <p:cNvSpPr>
            <a:spLocks noGrp="1" noChangeArrowheads="1"/>
          </p:cNvSpPr>
          <p:nvPr>
            <p:ph type="dt" sz="half" idx="2"/>
          </p:nvPr>
        </p:nvSpPr>
        <p:spPr>
          <a:xfrm>
            <a:off x="7805739" y="4794250"/>
            <a:ext cx="881062" cy="27272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sv-SE" sz="600" smtClean="0">
                <a:solidFill>
                  <a:srgbClr val="3C3C3C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/>
              <a:t>15 March, 2023</a:t>
            </a:r>
            <a:endParaRPr lang="en-GB" dirty="0"/>
          </a:p>
        </p:txBody>
      </p:sp>
      <p:sp>
        <p:nvSpPr>
          <p:cNvPr id="13" name="Platshållare för sidfot 4">
            <a:extLst>
              <a:ext uri="{FF2B5EF4-FFF2-40B4-BE49-F238E27FC236}">
                <a16:creationId xmlns:a16="http://schemas.microsoft.com/office/drawing/2014/main" id="{9B48561A-282D-4FBA-857C-0E5D506006B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59860" y="4794250"/>
            <a:ext cx="6153890" cy="27272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lang="en-GB" sz="600" dirty="0">
                <a:solidFill>
                  <a:srgbClr val="3C3C3C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©2023 Nynas. All rights reserved.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962014760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 with background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objekt 6"/>
          <p:cNvPicPr preferRelativeResize="0">
            <a:picLocks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62939" y="678180"/>
            <a:ext cx="881062" cy="4465321"/>
          </a:xfrm>
          <a:prstGeom prst="rect">
            <a:avLst/>
          </a:prstGeom>
        </p:spPr>
      </p:pic>
      <p:sp>
        <p:nvSpPr>
          <p:cNvPr id="11" name="Rubrik 1"/>
          <p:cNvSpPr>
            <a:spLocks noGrp="1"/>
          </p:cNvSpPr>
          <p:nvPr>
            <p:ph type="title" hasCustomPrompt="1"/>
          </p:nvPr>
        </p:nvSpPr>
        <p:spPr>
          <a:xfrm>
            <a:off x="432001" y="405000"/>
            <a:ext cx="7281749" cy="432000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/>
              <a:t>Header</a:t>
            </a:r>
          </a:p>
        </p:txBody>
      </p:sp>
      <p:sp>
        <p:nvSpPr>
          <p:cNvPr id="9" name="Platshållare för innehåll 7"/>
          <p:cNvSpPr>
            <a:spLocks noGrp="1"/>
          </p:cNvSpPr>
          <p:nvPr>
            <p:ph sz="quarter" idx="13" hasCustomPrompt="1"/>
          </p:nvPr>
        </p:nvSpPr>
        <p:spPr>
          <a:xfrm>
            <a:off x="432000" y="1080000"/>
            <a:ext cx="8280000" cy="3456000"/>
          </a:xfrm>
        </p:spPr>
        <p:txBody>
          <a:bodyPr/>
          <a:lstStyle>
            <a:lvl1pPr>
              <a:defRPr>
                <a:solidFill>
                  <a:srgbClr val="3C3C3C"/>
                </a:solidFill>
              </a:defRPr>
            </a:lvl1pPr>
            <a:lvl2pPr marL="336947" marR="0" indent="-158354" algn="l" defTabSz="6858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FD500"/>
              </a:buClr>
              <a:buSzPct val="110000"/>
              <a:buFont typeface="Arial" pitchFamily="34" charset="0"/>
              <a:buChar char="•"/>
              <a:tabLst/>
              <a:defRPr lang="sv-SE" baseline="0" smtClean="0">
                <a:solidFill>
                  <a:srgbClr val="3C3C3C"/>
                </a:solidFill>
              </a:defRPr>
            </a:lvl2pPr>
            <a:lvl3pPr>
              <a:buClr>
                <a:srgbClr val="FFD500"/>
              </a:buClr>
              <a:defRPr>
                <a:solidFill>
                  <a:srgbClr val="3C3C3C"/>
                </a:solidFill>
              </a:defRPr>
            </a:lvl3pPr>
            <a:lvl4pPr>
              <a:buClr>
                <a:srgbClr val="FFD500"/>
              </a:buClr>
              <a:defRPr>
                <a:solidFill>
                  <a:srgbClr val="3C3C3C"/>
                </a:solidFill>
              </a:defRPr>
            </a:lvl4pPr>
            <a:lvl5pPr>
              <a:buClr>
                <a:srgbClr val="FFD500"/>
              </a:buClr>
              <a:defRPr>
                <a:solidFill>
                  <a:srgbClr val="3C3C3C"/>
                </a:solidFill>
              </a:defRPr>
            </a:lvl5pPr>
          </a:lstStyle>
          <a:p>
            <a:pPr lvl="0"/>
            <a:r>
              <a:rPr lang="en-GB" noProof="0" dirty="0"/>
              <a:t>Bullet point</a:t>
            </a:r>
          </a:p>
          <a:p>
            <a:pPr lvl="1"/>
            <a:r>
              <a:rPr lang="en-GB" noProof="0" dirty="0"/>
              <a:t>Bullet point subcategory</a:t>
            </a:r>
          </a:p>
          <a:p>
            <a:pPr lvl="2"/>
            <a:r>
              <a:rPr lang="en-GB" noProof="0" dirty="0"/>
              <a:t>Bullet point subcategory</a:t>
            </a:r>
          </a:p>
          <a:p>
            <a:pPr lvl="3"/>
            <a:r>
              <a:rPr lang="en-GB" noProof="0" dirty="0"/>
              <a:t>Bullet point subcategory</a:t>
            </a:r>
          </a:p>
          <a:p>
            <a:pPr lvl="4"/>
            <a:r>
              <a:rPr lang="en-GB" noProof="0" dirty="0"/>
              <a:t>Bullet point subcategory</a:t>
            </a:r>
          </a:p>
        </p:txBody>
      </p:sp>
      <p:sp>
        <p:nvSpPr>
          <p:cNvPr id="10" name="Platshållare för bildnummer 5">
            <a:extLst>
              <a:ext uri="{FF2B5EF4-FFF2-40B4-BE49-F238E27FC236}">
                <a16:creationId xmlns:a16="http://schemas.microsoft.com/office/drawing/2014/main" id="{8DEDAC62-2AA4-46E2-B6BA-BFEB7FABB3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32000" y="4830367"/>
            <a:ext cx="434242" cy="23661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lang="sv-SE" sz="600" smtClean="0">
                <a:solidFill>
                  <a:srgbClr val="3C3C3C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1A49F53B-68F7-402D-8883-CC8AD69B34F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Rectangle 4">
            <a:extLst>
              <a:ext uri="{FF2B5EF4-FFF2-40B4-BE49-F238E27FC236}">
                <a16:creationId xmlns:a16="http://schemas.microsoft.com/office/drawing/2014/main" id="{5B752612-2AFB-4F65-A664-2379B368B135}"/>
              </a:ext>
            </a:extLst>
          </p:cNvPr>
          <p:cNvSpPr>
            <a:spLocks noGrp="1" noChangeArrowheads="1"/>
          </p:cNvSpPr>
          <p:nvPr>
            <p:ph type="dt" sz="half" idx="2"/>
          </p:nvPr>
        </p:nvSpPr>
        <p:spPr>
          <a:xfrm>
            <a:off x="7805739" y="4794250"/>
            <a:ext cx="881062" cy="27272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sv-SE" sz="600" smtClean="0">
                <a:solidFill>
                  <a:srgbClr val="3C3C3C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/>
              <a:t>15 March, 2023</a:t>
            </a:r>
            <a:endParaRPr lang="en-GB" dirty="0"/>
          </a:p>
        </p:txBody>
      </p:sp>
      <p:sp>
        <p:nvSpPr>
          <p:cNvPr id="13" name="Platshållare för sidfot 4">
            <a:extLst>
              <a:ext uri="{FF2B5EF4-FFF2-40B4-BE49-F238E27FC236}">
                <a16:creationId xmlns:a16="http://schemas.microsoft.com/office/drawing/2014/main" id="{6C64555F-76D5-496F-B155-DC7B60CA1E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59860" y="4794250"/>
            <a:ext cx="6153890" cy="27272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lang="en-GB" sz="600" dirty="0">
                <a:solidFill>
                  <a:srgbClr val="3C3C3C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©2023 Nynas. All rights reserved.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683769824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 with background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objekt 6" descr="DROP.pn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"/>
          <a:stretch/>
        </p:blipFill>
        <p:spPr>
          <a:xfrm>
            <a:off x="0" y="4221590"/>
            <a:ext cx="9144000" cy="921910"/>
          </a:xfrm>
          <a:prstGeom prst="rect">
            <a:avLst/>
          </a:prstGeom>
        </p:spPr>
      </p:pic>
      <p:sp>
        <p:nvSpPr>
          <p:cNvPr id="11" name="Rubrik 1"/>
          <p:cNvSpPr>
            <a:spLocks noGrp="1"/>
          </p:cNvSpPr>
          <p:nvPr>
            <p:ph type="title" hasCustomPrompt="1"/>
          </p:nvPr>
        </p:nvSpPr>
        <p:spPr>
          <a:xfrm>
            <a:off x="432001" y="405000"/>
            <a:ext cx="7281749" cy="432000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er</a:t>
            </a:r>
          </a:p>
        </p:txBody>
      </p:sp>
      <p:sp>
        <p:nvSpPr>
          <p:cNvPr id="9" name="Platshållare för innehåll 7"/>
          <p:cNvSpPr>
            <a:spLocks noGrp="1"/>
          </p:cNvSpPr>
          <p:nvPr>
            <p:ph sz="quarter" idx="13" hasCustomPrompt="1"/>
          </p:nvPr>
        </p:nvSpPr>
        <p:spPr>
          <a:xfrm>
            <a:off x="432000" y="1080000"/>
            <a:ext cx="8280000" cy="3456000"/>
          </a:xfrm>
        </p:spPr>
        <p:txBody>
          <a:bodyPr/>
          <a:lstStyle>
            <a:lvl1pPr>
              <a:defRPr>
                <a:solidFill>
                  <a:srgbClr val="3C3C3C"/>
                </a:solidFill>
              </a:defRPr>
            </a:lvl1pPr>
            <a:lvl2pPr marL="336947" marR="0" indent="-158354" algn="l" defTabSz="6858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FD500"/>
              </a:buClr>
              <a:buSzPct val="110000"/>
              <a:buFont typeface="Arial" pitchFamily="34" charset="0"/>
              <a:buChar char="•"/>
              <a:tabLst/>
              <a:defRPr lang="sv-SE" baseline="0" smtClean="0">
                <a:solidFill>
                  <a:srgbClr val="3C3C3C"/>
                </a:solidFill>
              </a:defRPr>
            </a:lvl2pPr>
            <a:lvl3pPr>
              <a:buClr>
                <a:srgbClr val="FFD500"/>
              </a:buClr>
              <a:defRPr>
                <a:solidFill>
                  <a:srgbClr val="3C3C3C"/>
                </a:solidFill>
              </a:defRPr>
            </a:lvl3pPr>
            <a:lvl4pPr>
              <a:buClr>
                <a:srgbClr val="FFD500"/>
              </a:buClr>
              <a:defRPr>
                <a:solidFill>
                  <a:srgbClr val="3C3C3C"/>
                </a:solidFill>
              </a:defRPr>
            </a:lvl4pPr>
            <a:lvl5pPr>
              <a:buClr>
                <a:srgbClr val="FFD500"/>
              </a:buClr>
              <a:defRPr>
                <a:solidFill>
                  <a:srgbClr val="3C3C3C"/>
                </a:solidFill>
              </a:defRPr>
            </a:lvl5pPr>
          </a:lstStyle>
          <a:p>
            <a:pPr lvl="0"/>
            <a:r>
              <a:rPr lang="en-GB" noProof="0" dirty="0"/>
              <a:t>Bullet point</a:t>
            </a:r>
          </a:p>
          <a:p>
            <a:pPr lvl="1"/>
            <a:r>
              <a:rPr lang="en-GB" noProof="0" dirty="0"/>
              <a:t>Bullet point subcategory</a:t>
            </a:r>
          </a:p>
          <a:p>
            <a:pPr lvl="2"/>
            <a:r>
              <a:rPr lang="en-GB" noProof="0" dirty="0"/>
              <a:t>Bullet point subcategory</a:t>
            </a:r>
          </a:p>
          <a:p>
            <a:pPr lvl="3"/>
            <a:r>
              <a:rPr lang="en-GB" noProof="0" dirty="0"/>
              <a:t>Bullet point subcategory</a:t>
            </a:r>
          </a:p>
          <a:p>
            <a:pPr lvl="4"/>
            <a:r>
              <a:rPr lang="en-GB" noProof="0" dirty="0"/>
              <a:t>Bullet point subcategory</a:t>
            </a:r>
          </a:p>
        </p:txBody>
      </p:sp>
      <p:sp>
        <p:nvSpPr>
          <p:cNvPr id="10" name="Platshållare för bildnummer 5">
            <a:extLst>
              <a:ext uri="{FF2B5EF4-FFF2-40B4-BE49-F238E27FC236}">
                <a16:creationId xmlns:a16="http://schemas.microsoft.com/office/drawing/2014/main" id="{76107AFA-3EF5-4990-A376-6E24FD16663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32000" y="4830367"/>
            <a:ext cx="434242" cy="23661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lang="sv-SE" sz="600" smtClean="0">
                <a:solidFill>
                  <a:srgbClr val="3C3C3C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1A49F53B-68F7-402D-8883-CC8AD69B34F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Rectangle 4">
            <a:extLst>
              <a:ext uri="{FF2B5EF4-FFF2-40B4-BE49-F238E27FC236}">
                <a16:creationId xmlns:a16="http://schemas.microsoft.com/office/drawing/2014/main" id="{1E758926-DEF7-4775-A398-3427ACE84EB0}"/>
              </a:ext>
            </a:extLst>
          </p:cNvPr>
          <p:cNvSpPr>
            <a:spLocks noGrp="1" noChangeArrowheads="1"/>
          </p:cNvSpPr>
          <p:nvPr>
            <p:ph type="dt" sz="half" idx="2"/>
          </p:nvPr>
        </p:nvSpPr>
        <p:spPr>
          <a:xfrm>
            <a:off x="7805739" y="4794250"/>
            <a:ext cx="881062" cy="27272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sv-SE" sz="600" smtClean="0">
                <a:solidFill>
                  <a:srgbClr val="3C3C3C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/>
              <a:t>15 March, 2023</a:t>
            </a:r>
            <a:endParaRPr lang="en-GB" dirty="0"/>
          </a:p>
        </p:txBody>
      </p:sp>
      <p:sp>
        <p:nvSpPr>
          <p:cNvPr id="13" name="Platshållare för sidfot 4">
            <a:extLst>
              <a:ext uri="{FF2B5EF4-FFF2-40B4-BE49-F238E27FC236}">
                <a16:creationId xmlns:a16="http://schemas.microsoft.com/office/drawing/2014/main" id="{133FE36E-088B-4668-B223-44506265587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59860" y="4794250"/>
            <a:ext cx="6153890" cy="27272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lang="en-GB" sz="600" dirty="0">
                <a:solidFill>
                  <a:srgbClr val="3C3C3C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©2023 Nynas. All rights reserved.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226619503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 with background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objekt 6" descr="DROPPE.pn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1141"/>
          <a:stretch/>
        </p:blipFill>
        <p:spPr>
          <a:xfrm rot="16200000" flipH="1">
            <a:off x="3061970" y="1258571"/>
            <a:ext cx="822961" cy="6946900"/>
          </a:xfrm>
          <a:prstGeom prst="rect">
            <a:avLst/>
          </a:prstGeom>
        </p:spPr>
      </p:pic>
      <p:sp>
        <p:nvSpPr>
          <p:cNvPr id="11" name="Rubrik 1"/>
          <p:cNvSpPr>
            <a:spLocks noGrp="1"/>
          </p:cNvSpPr>
          <p:nvPr>
            <p:ph type="title" hasCustomPrompt="1"/>
          </p:nvPr>
        </p:nvSpPr>
        <p:spPr>
          <a:xfrm>
            <a:off x="432001" y="405000"/>
            <a:ext cx="7281749" cy="432000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Header</a:t>
            </a:r>
          </a:p>
        </p:txBody>
      </p:sp>
      <p:sp>
        <p:nvSpPr>
          <p:cNvPr id="9" name="Platshållare för innehåll 7"/>
          <p:cNvSpPr>
            <a:spLocks noGrp="1"/>
          </p:cNvSpPr>
          <p:nvPr>
            <p:ph sz="quarter" idx="13" hasCustomPrompt="1"/>
          </p:nvPr>
        </p:nvSpPr>
        <p:spPr>
          <a:xfrm>
            <a:off x="432000" y="1080000"/>
            <a:ext cx="8280000" cy="3456000"/>
          </a:xfrm>
        </p:spPr>
        <p:txBody>
          <a:bodyPr/>
          <a:lstStyle>
            <a:lvl1pPr>
              <a:defRPr>
                <a:solidFill>
                  <a:srgbClr val="3C3C3C"/>
                </a:solidFill>
              </a:defRPr>
            </a:lvl1pPr>
            <a:lvl2pPr marL="336947" marR="0" indent="-158354" algn="l" defTabSz="6858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FD500"/>
              </a:buClr>
              <a:buSzPct val="110000"/>
              <a:buFont typeface="Arial" pitchFamily="34" charset="0"/>
              <a:buChar char="•"/>
              <a:tabLst/>
              <a:defRPr lang="sv-SE" baseline="0" smtClean="0">
                <a:solidFill>
                  <a:srgbClr val="3C3C3C"/>
                </a:solidFill>
              </a:defRPr>
            </a:lvl2pPr>
            <a:lvl3pPr>
              <a:buClr>
                <a:srgbClr val="FFD500"/>
              </a:buClr>
              <a:defRPr>
                <a:solidFill>
                  <a:srgbClr val="3C3C3C"/>
                </a:solidFill>
              </a:defRPr>
            </a:lvl3pPr>
            <a:lvl4pPr>
              <a:buClr>
                <a:srgbClr val="FFD500"/>
              </a:buClr>
              <a:defRPr>
                <a:solidFill>
                  <a:srgbClr val="3C3C3C"/>
                </a:solidFill>
              </a:defRPr>
            </a:lvl4pPr>
            <a:lvl5pPr>
              <a:buClr>
                <a:srgbClr val="FFD500"/>
              </a:buClr>
              <a:defRPr>
                <a:solidFill>
                  <a:srgbClr val="3C3C3C"/>
                </a:solidFill>
              </a:defRPr>
            </a:lvl5pPr>
          </a:lstStyle>
          <a:p>
            <a:pPr lvl="0"/>
            <a:r>
              <a:rPr lang="en-GB" noProof="0" dirty="0"/>
              <a:t>Bullet point</a:t>
            </a:r>
          </a:p>
          <a:p>
            <a:pPr lvl="1"/>
            <a:r>
              <a:rPr lang="en-GB" noProof="0" dirty="0"/>
              <a:t>Bullet point subcategory</a:t>
            </a:r>
          </a:p>
          <a:p>
            <a:pPr lvl="2"/>
            <a:r>
              <a:rPr lang="en-GB" noProof="0" dirty="0"/>
              <a:t>Bullet point subcategory</a:t>
            </a:r>
          </a:p>
          <a:p>
            <a:pPr lvl="3"/>
            <a:r>
              <a:rPr lang="en-GB" noProof="0" dirty="0"/>
              <a:t>Bullet point subcategory</a:t>
            </a:r>
          </a:p>
          <a:p>
            <a:pPr lvl="4"/>
            <a:r>
              <a:rPr lang="en-GB" noProof="0" dirty="0"/>
              <a:t>Bullet point subcategory</a:t>
            </a:r>
          </a:p>
        </p:txBody>
      </p:sp>
      <p:sp>
        <p:nvSpPr>
          <p:cNvPr id="10" name="Platshållare för bildnummer 5">
            <a:extLst>
              <a:ext uri="{FF2B5EF4-FFF2-40B4-BE49-F238E27FC236}">
                <a16:creationId xmlns:a16="http://schemas.microsoft.com/office/drawing/2014/main" id="{88988774-0644-41CC-AF5B-094B5EC9A8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32000" y="4830367"/>
            <a:ext cx="434242" cy="23661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lang="sv-SE" sz="600" smtClean="0">
                <a:solidFill>
                  <a:srgbClr val="3C3C3C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1A49F53B-68F7-402D-8883-CC8AD69B34F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Rectangle 4">
            <a:extLst>
              <a:ext uri="{FF2B5EF4-FFF2-40B4-BE49-F238E27FC236}">
                <a16:creationId xmlns:a16="http://schemas.microsoft.com/office/drawing/2014/main" id="{CD5154ED-682A-459C-98BB-6333F4FE9734}"/>
              </a:ext>
            </a:extLst>
          </p:cNvPr>
          <p:cNvSpPr>
            <a:spLocks noGrp="1" noChangeArrowheads="1"/>
          </p:cNvSpPr>
          <p:nvPr>
            <p:ph type="dt" sz="half" idx="2"/>
          </p:nvPr>
        </p:nvSpPr>
        <p:spPr>
          <a:xfrm>
            <a:off x="7805739" y="4794250"/>
            <a:ext cx="881062" cy="27272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sv-SE" sz="600" smtClean="0">
                <a:solidFill>
                  <a:srgbClr val="3C3C3C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/>
              <a:t>15 March, 2023</a:t>
            </a:r>
            <a:endParaRPr lang="en-GB" dirty="0"/>
          </a:p>
        </p:txBody>
      </p:sp>
      <p:sp>
        <p:nvSpPr>
          <p:cNvPr id="13" name="Platshållare för sidfot 4">
            <a:extLst>
              <a:ext uri="{FF2B5EF4-FFF2-40B4-BE49-F238E27FC236}">
                <a16:creationId xmlns:a16="http://schemas.microsoft.com/office/drawing/2014/main" id="{14E52371-9588-4C03-80A5-5391CAD3B29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59860" y="4794250"/>
            <a:ext cx="6153890" cy="27272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lang="en-GB" sz="600" dirty="0">
                <a:solidFill>
                  <a:srgbClr val="3C3C3C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©2023 Nynas. All rights reserved.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283070541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Relationship Id="rId30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380D7CB-193E-4B75-868C-E20E538D7E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2368026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360" imgH="360" progId="TCLayout.ActiveDocument.1">
                  <p:embed/>
                </p:oleObj>
              </mc:Choice>
              <mc:Fallback>
                <p:oleObj name="think-cell Slide" r:id="rId27" imgW="360" imgH="36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380D7CB-193E-4B75-868C-E20E538D7E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ktangel 4" hidden="1">
            <a:extLst>
              <a:ext uri="{FF2B5EF4-FFF2-40B4-BE49-F238E27FC236}">
                <a16:creationId xmlns:a16="http://schemas.microsoft.com/office/drawing/2014/main" id="{197B2D67-58ED-49CC-B7B9-2F99CB8276D8}"/>
              </a:ext>
            </a:extLst>
          </p:cNvPr>
          <p:cNvSpPr/>
          <p:nvPr userDrawn="1">
            <p:custDataLst>
              <p:tags r:id="rId2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GB" sz="1875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432001" y="405000"/>
            <a:ext cx="7281749" cy="432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GB" noProof="0" dirty="0"/>
              <a:t>Click here to change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432000" y="1080000"/>
            <a:ext cx="8280000" cy="345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Click here to change the format of the background text</a:t>
            </a:r>
          </a:p>
          <a:p>
            <a:pPr lvl="1"/>
            <a:r>
              <a:rPr lang="en-GB" noProof="0" dirty="0"/>
              <a:t>Level two</a:t>
            </a:r>
          </a:p>
          <a:p>
            <a:pPr lvl="2"/>
            <a:r>
              <a:rPr lang="en-GB" noProof="0" dirty="0"/>
              <a:t>Level three</a:t>
            </a:r>
          </a:p>
          <a:p>
            <a:pPr lvl="3"/>
            <a:r>
              <a:rPr lang="en-GB" noProof="0" dirty="0"/>
              <a:t>Level four</a:t>
            </a:r>
          </a:p>
          <a:p>
            <a:pPr lvl="4"/>
            <a:r>
              <a:rPr lang="en-GB" noProof="0" dirty="0"/>
              <a:t>Level five</a:t>
            </a:r>
          </a:p>
        </p:txBody>
      </p:sp>
      <p:pic>
        <p:nvPicPr>
          <p:cNvPr id="13" name="Picture 27" descr="305841_Logo strip"/>
          <p:cNvPicPr>
            <a:picLocks noChangeArrowheads="1"/>
          </p:cNvPicPr>
          <p:nvPr userDrawn="1"/>
        </p:nvPicPr>
        <p:blipFill>
          <a:blip r:embed="rId2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08520" y="179785"/>
            <a:ext cx="791825" cy="34170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ktangel 6"/>
          <p:cNvSpPr/>
          <p:nvPr userDrawn="1"/>
        </p:nvSpPr>
        <p:spPr>
          <a:xfrm>
            <a:off x="-637302" y="3334540"/>
            <a:ext cx="184731" cy="16158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endParaRPr lang="en-GB" sz="450" b="1" noProof="0" dirty="0"/>
          </a:p>
        </p:txBody>
      </p:sp>
      <p:sp>
        <p:nvSpPr>
          <p:cNvPr id="9" name="Rektangel 8"/>
          <p:cNvSpPr/>
          <p:nvPr userDrawn="1"/>
        </p:nvSpPr>
        <p:spPr>
          <a:xfrm>
            <a:off x="-637302" y="2820742"/>
            <a:ext cx="184731" cy="16158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endParaRPr lang="en-GB" sz="450" b="1" noProof="0" dirty="0"/>
          </a:p>
        </p:txBody>
      </p:sp>
      <p:sp>
        <p:nvSpPr>
          <p:cNvPr id="17" name="Rektangel 11"/>
          <p:cNvSpPr/>
          <p:nvPr userDrawn="1"/>
        </p:nvSpPr>
        <p:spPr>
          <a:xfrm>
            <a:off x="-885737" y="3549580"/>
            <a:ext cx="681597" cy="16158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GB" sz="450" b="1" noProof="0" dirty="0"/>
              <a:t>R 216 G 226 B 238</a:t>
            </a:r>
          </a:p>
        </p:txBody>
      </p:sp>
      <p:sp>
        <p:nvSpPr>
          <p:cNvPr id="19" name="Rektangel 18"/>
          <p:cNvSpPr/>
          <p:nvPr userDrawn="1"/>
        </p:nvSpPr>
        <p:spPr>
          <a:xfrm>
            <a:off x="-853677" y="3023799"/>
            <a:ext cx="617478" cy="16158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GB" sz="450" b="1" noProof="0" dirty="0"/>
              <a:t>R 159 G 50 B 89</a:t>
            </a:r>
          </a:p>
        </p:txBody>
      </p:sp>
      <p:sp>
        <p:nvSpPr>
          <p:cNvPr id="20" name="Rektangel 19"/>
          <p:cNvSpPr/>
          <p:nvPr userDrawn="1"/>
        </p:nvSpPr>
        <p:spPr>
          <a:xfrm>
            <a:off x="-893752" y="2566600"/>
            <a:ext cx="697628" cy="16158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GB" sz="450" b="1" noProof="0" dirty="0"/>
              <a:t>R 105 G 170 B 164 </a:t>
            </a:r>
          </a:p>
        </p:txBody>
      </p:sp>
      <p:sp>
        <p:nvSpPr>
          <p:cNvPr id="21" name="Rektangel 20"/>
          <p:cNvSpPr/>
          <p:nvPr userDrawn="1"/>
        </p:nvSpPr>
        <p:spPr>
          <a:xfrm>
            <a:off x="-637302" y="2370391"/>
            <a:ext cx="184731" cy="16158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endParaRPr lang="en-GB" sz="450" b="1" noProof="0" dirty="0"/>
          </a:p>
        </p:txBody>
      </p:sp>
      <p:sp>
        <p:nvSpPr>
          <p:cNvPr id="22" name="Rektangel 21"/>
          <p:cNvSpPr/>
          <p:nvPr userDrawn="1"/>
        </p:nvSpPr>
        <p:spPr>
          <a:xfrm>
            <a:off x="-837647" y="2103685"/>
            <a:ext cx="585417" cy="16158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GB" sz="450" b="1" noProof="0" dirty="0"/>
              <a:t>R 60 G 60 B 60</a:t>
            </a:r>
          </a:p>
        </p:txBody>
      </p:sp>
      <p:sp>
        <p:nvSpPr>
          <p:cNvPr id="23" name="Rektangel 22"/>
          <p:cNvSpPr/>
          <p:nvPr userDrawn="1"/>
        </p:nvSpPr>
        <p:spPr>
          <a:xfrm>
            <a:off x="-637302" y="1888645"/>
            <a:ext cx="184731" cy="16158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endParaRPr lang="en-GB" sz="450" b="1" noProof="0" dirty="0"/>
          </a:p>
        </p:txBody>
      </p:sp>
      <p:sp>
        <p:nvSpPr>
          <p:cNvPr id="24" name="Rektangel 23"/>
          <p:cNvSpPr/>
          <p:nvPr userDrawn="1"/>
        </p:nvSpPr>
        <p:spPr>
          <a:xfrm>
            <a:off x="-1146854" y="72825"/>
            <a:ext cx="857295" cy="1731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GB" sz="525" b="1" noProof="0" dirty="0"/>
              <a:t>Main colours</a:t>
            </a:r>
          </a:p>
        </p:txBody>
      </p:sp>
      <p:sp>
        <p:nvSpPr>
          <p:cNvPr id="25" name="Rektangel 24"/>
          <p:cNvSpPr/>
          <p:nvPr userDrawn="1"/>
        </p:nvSpPr>
        <p:spPr>
          <a:xfrm>
            <a:off x="-1147259" y="1569602"/>
            <a:ext cx="880560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GB" sz="525" b="1" noProof="0" dirty="0"/>
              <a:t>Complementary </a:t>
            </a:r>
          </a:p>
          <a:p>
            <a:pPr algn="r"/>
            <a:r>
              <a:rPr lang="en-GB" sz="525" b="1" noProof="0" dirty="0"/>
              <a:t>colours</a:t>
            </a:r>
          </a:p>
        </p:txBody>
      </p:sp>
      <p:sp>
        <p:nvSpPr>
          <p:cNvPr id="26" name="Rektangel 25"/>
          <p:cNvSpPr/>
          <p:nvPr userDrawn="1"/>
        </p:nvSpPr>
        <p:spPr>
          <a:xfrm>
            <a:off x="-837647" y="460373"/>
            <a:ext cx="585417" cy="16158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GB" sz="450" b="1" noProof="0" dirty="0"/>
              <a:t>R 0 G 84 B 163</a:t>
            </a:r>
          </a:p>
        </p:txBody>
      </p:sp>
      <p:sp>
        <p:nvSpPr>
          <p:cNvPr id="27" name="Rektangel 26"/>
          <p:cNvSpPr/>
          <p:nvPr userDrawn="1"/>
        </p:nvSpPr>
        <p:spPr>
          <a:xfrm>
            <a:off x="-853677" y="824513"/>
            <a:ext cx="617478" cy="16158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GB" sz="450" b="1" noProof="0" dirty="0"/>
              <a:t>R 255 G 213 B 0</a:t>
            </a:r>
          </a:p>
        </p:txBody>
      </p:sp>
      <p:sp>
        <p:nvSpPr>
          <p:cNvPr id="28" name="Rektangel 27"/>
          <p:cNvSpPr/>
          <p:nvPr userDrawn="1"/>
        </p:nvSpPr>
        <p:spPr>
          <a:xfrm>
            <a:off x="-885737" y="1242561"/>
            <a:ext cx="681597" cy="16158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GB" sz="450" b="1" noProof="0" dirty="0"/>
              <a:t>R 145 G 145 B 145</a:t>
            </a:r>
          </a:p>
        </p:txBody>
      </p:sp>
      <p:sp>
        <p:nvSpPr>
          <p:cNvPr id="4" name="Ellips 3"/>
          <p:cNvSpPr/>
          <p:nvPr userDrawn="1"/>
        </p:nvSpPr>
        <p:spPr>
          <a:xfrm>
            <a:off x="-667534" y="242888"/>
            <a:ext cx="218700" cy="217485"/>
          </a:xfrm>
          <a:prstGeom prst="ellipse">
            <a:avLst/>
          </a:prstGeom>
          <a:solidFill>
            <a:srgbClr val="0054A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rtlCol="0" anchor="t" anchorCtr="0"/>
          <a:lstStyle/>
          <a:p>
            <a:pPr algn="ctr"/>
            <a:endParaRPr lang="en-GB" sz="1350" noProof="0" dirty="0">
              <a:solidFill>
                <a:srgbClr val="4D4D4D"/>
              </a:solidFill>
            </a:endParaRPr>
          </a:p>
        </p:txBody>
      </p:sp>
      <p:sp>
        <p:nvSpPr>
          <p:cNvPr id="29" name="Ellips 28"/>
          <p:cNvSpPr/>
          <p:nvPr userDrawn="1"/>
        </p:nvSpPr>
        <p:spPr>
          <a:xfrm>
            <a:off x="-667534" y="625793"/>
            <a:ext cx="218700" cy="217485"/>
          </a:xfrm>
          <a:prstGeom prst="ellipse">
            <a:avLst/>
          </a:prstGeom>
          <a:solidFill>
            <a:srgbClr val="FBD1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rtlCol="0" anchor="t" anchorCtr="0"/>
          <a:lstStyle/>
          <a:p>
            <a:pPr algn="ctr"/>
            <a:endParaRPr lang="en-GB" sz="1350" noProof="0" dirty="0">
              <a:solidFill>
                <a:srgbClr val="4D4D4D"/>
              </a:solidFill>
            </a:endParaRPr>
          </a:p>
        </p:txBody>
      </p:sp>
      <p:sp>
        <p:nvSpPr>
          <p:cNvPr id="30" name="Ellips 29"/>
          <p:cNvSpPr/>
          <p:nvPr userDrawn="1"/>
        </p:nvSpPr>
        <p:spPr>
          <a:xfrm>
            <a:off x="-667534" y="1008875"/>
            <a:ext cx="218700" cy="217485"/>
          </a:xfrm>
          <a:prstGeom prst="ellipse">
            <a:avLst/>
          </a:prstGeom>
          <a:solidFill>
            <a:srgbClr val="9191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rtlCol="0" anchor="t" anchorCtr="0"/>
          <a:lstStyle/>
          <a:p>
            <a:pPr algn="ctr"/>
            <a:endParaRPr lang="en-GB" sz="1350" noProof="0" dirty="0">
              <a:solidFill>
                <a:srgbClr val="4D4D4D"/>
              </a:solidFill>
            </a:endParaRPr>
          </a:p>
        </p:txBody>
      </p:sp>
      <p:sp>
        <p:nvSpPr>
          <p:cNvPr id="31" name="Ellips 30"/>
          <p:cNvSpPr/>
          <p:nvPr userDrawn="1"/>
        </p:nvSpPr>
        <p:spPr>
          <a:xfrm>
            <a:off x="-667534" y="1845921"/>
            <a:ext cx="218700" cy="217485"/>
          </a:xfrm>
          <a:prstGeom prst="ellipse">
            <a:avLst/>
          </a:prstGeom>
          <a:solidFill>
            <a:srgbClr val="3C3C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rtlCol="0" anchor="t" anchorCtr="0"/>
          <a:lstStyle/>
          <a:p>
            <a:pPr algn="ctr"/>
            <a:endParaRPr lang="en-GB" sz="1350" noProof="0" dirty="0">
              <a:solidFill>
                <a:srgbClr val="4D4D4D"/>
              </a:solidFill>
            </a:endParaRPr>
          </a:p>
        </p:txBody>
      </p:sp>
      <p:sp>
        <p:nvSpPr>
          <p:cNvPr id="32" name="Ellips 31"/>
          <p:cNvSpPr/>
          <p:nvPr userDrawn="1"/>
        </p:nvSpPr>
        <p:spPr>
          <a:xfrm>
            <a:off x="-667534" y="2311659"/>
            <a:ext cx="218700" cy="217485"/>
          </a:xfrm>
          <a:prstGeom prst="ellipse">
            <a:avLst/>
          </a:prstGeom>
          <a:solidFill>
            <a:srgbClr val="69AA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rtlCol="0" anchor="t" anchorCtr="0"/>
          <a:lstStyle/>
          <a:p>
            <a:pPr algn="ctr"/>
            <a:endParaRPr lang="en-GB" sz="1350" noProof="0" dirty="0">
              <a:solidFill>
                <a:srgbClr val="4D4D4D"/>
              </a:solidFill>
            </a:endParaRPr>
          </a:p>
        </p:txBody>
      </p:sp>
      <p:sp>
        <p:nvSpPr>
          <p:cNvPr id="33" name="Ellips 32"/>
          <p:cNvSpPr/>
          <p:nvPr userDrawn="1"/>
        </p:nvSpPr>
        <p:spPr>
          <a:xfrm>
            <a:off x="-667534" y="2762807"/>
            <a:ext cx="218700" cy="217485"/>
          </a:xfrm>
          <a:prstGeom prst="ellipse">
            <a:avLst/>
          </a:prstGeom>
          <a:solidFill>
            <a:srgbClr val="9F32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rtlCol="0" anchor="t" anchorCtr="0"/>
          <a:lstStyle/>
          <a:p>
            <a:pPr algn="ctr"/>
            <a:endParaRPr lang="en-GB" sz="1350" noProof="0" dirty="0">
              <a:solidFill>
                <a:srgbClr val="4D4D4D"/>
              </a:solidFill>
            </a:endParaRPr>
          </a:p>
        </p:txBody>
      </p:sp>
      <p:sp>
        <p:nvSpPr>
          <p:cNvPr id="34" name="Ellips 33"/>
          <p:cNvSpPr/>
          <p:nvPr userDrawn="1"/>
        </p:nvSpPr>
        <p:spPr>
          <a:xfrm>
            <a:off x="-667534" y="3272482"/>
            <a:ext cx="218700" cy="217485"/>
          </a:xfrm>
          <a:prstGeom prst="ellipse">
            <a:avLst/>
          </a:prstGeom>
          <a:solidFill>
            <a:srgbClr val="D8E2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0" tIns="27000" rIns="27000" bIns="27000" rtlCol="0" anchor="t" anchorCtr="0"/>
          <a:lstStyle/>
          <a:p>
            <a:pPr algn="ctr"/>
            <a:endParaRPr lang="en-GB" sz="1350" noProof="0" dirty="0">
              <a:solidFill>
                <a:srgbClr val="4D4D4D"/>
              </a:solidFill>
            </a:endParaRPr>
          </a:p>
        </p:txBody>
      </p:sp>
      <p:sp>
        <p:nvSpPr>
          <p:cNvPr id="36" name="Platshållare för bildnummer 5">
            <a:extLst>
              <a:ext uri="{FF2B5EF4-FFF2-40B4-BE49-F238E27FC236}">
                <a16:creationId xmlns:a16="http://schemas.microsoft.com/office/drawing/2014/main" id="{5AB63039-5B08-4AEC-A216-078B981DB52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32000" y="4830367"/>
            <a:ext cx="434242" cy="23661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lang="sv-SE" sz="600" smtClean="0">
                <a:solidFill>
                  <a:srgbClr val="3C3C3C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1A49F53B-68F7-402D-8883-CC8AD69B34F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7" name="Rectangle 4">
            <a:extLst>
              <a:ext uri="{FF2B5EF4-FFF2-40B4-BE49-F238E27FC236}">
                <a16:creationId xmlns:a16="http://schemas.microsoft.com/office/drawing/2014/main" id="{CA058B6D-72A7-4FD0-8349-62A3781BC854}"/>
              </a:ext>
            </a:extLst>
          </p:cNvPr>
          <p:cNvSpPr>
            <a:spLocks noGrp="1" noChangeArrowheads="1"/>
          </p:cNvSpPr>
          <p:nvPr>
            <p:ph type="dt" sz="half" idx="2"/>
          </p:nvPr>
        </p:nvSpPr>
        <p:spPr>
          <a:xfrm>
            <a:off x="7805739" y="4794250"/>
            <a:ext cx="881062" cy="27272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sv-SE" sz="600" smtClean="0">
                <a:solidFill>
                  <a:srgbClr val="3C3C3C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/>
              <a:t>15 March, 2023</a:t>
            </a:r>
            <a:endParaRPr lang="en-GB" dirty="0"/>
          </a:p>
        </p:txBody>
      </p:sp>
      <p:sp>
        <p:nvSpPr>
          <p:cNvPr id="38" name="Platshållare för sidfot 4">
            <a:extLst>
              <a:ext uri="{FF2B5EF4-FFF2-40B4-BE49-F238E27FC236}">
                <a16:creationId xmlns:a16="http://schemas.microsoft.com/office/drawing/2014/main" id="{FF473945-79B9-4BEB-96BB-CA4656D84A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59860" y="4794250"/>
            <a:ext cx="6153890" cy="27272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ctr">
              <a:defRPr lang="en-GB" sz="600" dirty="0">
                <a:solidFill>
                  <a:srgbClr val="3C3C3C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>
                <a:ea typeface="Calibri" panose="020F0502020204030204" pitchFamily="34" charset="0"/>
              </a:rPr>
              <a:t>©2023 Nynas. All rights reserved.</a:t>
            </a:r>
            <a:endParaRPr lang="sv-SE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94876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9" r:id="rId2"/>
    <p:sldLayoutId id="2147483690" r:id="rId3"/>
    <p:sldLayoutId id="2147483665" r:id="rId4"/>
    <p:sldLayoutId id="2147483678" r:id="rId5"/>
    <p:sldLayoutId id="2147483667" r:id="rId6"/>
    <p:sldLayoutId id="2147483668" r:id="rId7"/>
    <p:sldLayoutId id="2147483670" r:id="rId8"/>
    <p:sldLayoutId id="2147483671" r:id="rId9"/>
    <p:sldLayoutId id="2147483664" r:id="rId10"/>
    <p:sldLayoutId id="2147483686" r:id="rId11"/>
    <p:sldLayoutId id="2147483687" r:id="rId12"/>
    <p:sldLayoutId id="2147483688" r:id="rId13"/>
    <p:sldLayoutId id="2147483689" r:id="rId14"/>
    <p:sldLayoutId id="2147483692" r:id="rId15"/>
    <p:sldLayoutId id="2147483693" r:id="rId16"/>
    <p:sldLayoutId id="2147483673" r:id="rId17"/>
    <p:sldLayoutId id="2147483674" r:id="rId18"/>
    <p:sldLayoutId id="2147483675" r:id="rId19"/>
    <p:sldLayoutId id="2147483676" r:id="rId20"/>
    <p:sldLayoutId id="2147483677" r:id="rId21"/>
    <p:sldLayoutId id="2147483663" r:id="rId22"/>
    <p:sldLayoutId id="2147483650" r:id="rId23"/>
  </p:sldLayoutIdLst>
  <p:transition>
    <p:fade/>
  </p:transition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1875" b="0" kern="1200">
          <a:solidFill>
            <a:srgbClr val="3C3C3C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57163" indent="-157163" algn="l" defTabSz="685800" rtl="0" eaLnBrk="1" fontAlgn="base" latinLnBrk="0" hangingPunct="1">
        <a:spcBef>
          <a:spcPts val="750"/>
        </a:spcBef>
        <a:spcAft>
          <a:spcPct val="0"/>
        </a:spcAft>
        <a:buSzPct val="120000"/>
        <a:buFontTx/>
        <a:buBlip>
          <a:blip r:embed="rId30"/>
        </a:buBlip>
        <a:defRPr lang="sv-SE" sz="1350" kern="1200" dirty="0" smtClean="0">
          <a:solidFill>
            <a:srgbClr val="3C3C3C"/>
          </a:solidFill>
          <a:latin typeface="Arial" charset="0"/>
          <a:ea typeface="+mn-ea"/>
          <a:cs typeface="+mn-cs"/>
        </a:defRPr>
      </a:lvl1pPr>
      <a:lvl2pPr marL="336947" indent="-155972" algn="l" defTabSz="685800" rtl="0" eaLnBrk="1" fontAlgn="base" latinLnBrk="0" hangingPunct="1">
        <a:spcBef>
          <a:spcPts val="0"/>
        </a:spcBef>
        <a:spcAft>
          <a:spcPct val="0"/>
        </a:spcAft>
        <a:buClr>
          <a:srgbClr val="FFD500"/>
        </a:buClr>
        <a:buSzPct val="110000"/>
        <a:buFont typeface="Arial" pitchFamily="34" charset="0"/>
        <a:buChar char="•"/>
        <a:defRPr lang="sv-SE" sz="1350" kern="1200" baseline="0" dirty="0" smtClean="0">
          <a:solidFill>
            <a:srgbClr val="3C3C3C"/>
          </a:solidFill>
          <a:latin typeface="Arial" charset="0"/>
          <a:ea typeface="+mn-ea"/>
          <a:cs typeface="+mn-cs"/>
        </a:defRPr>
      </a:lvl2pPr>
      <a:lvl3pPr marL="604838" indent="-201216" algn="l" defTabSz="685800" rtl="0" eaLnBrk="1" fontAlgn="base" latinLnBrk="0" hangingPunct="1">
        <a:spcBef>
          <a:spcPts val="0"/>
        </a:spcBef>
        <a:spcAft>
          <a:spcPct val="0"/>
        </a:spcAft>
        <a:buClr>
          <a:srgbClr val="FFD500"/>
        </a:buClr>
        <a:buSzPct val="120000"/>
        <a:buFont typeface="Arial" pitchFamily="34" charset="0"/>
        <a:buChar char="•"/>
        <a:defRPr lang="sv-SE" sz="1350" kern="1200" baseline="0" dirty="0" smtClean="0">
          <a:solidFill>
            <a:srgbClr val="3C3C3C"/>
          </a:solidFill>
          <a:latin typeface="Arial" charset="0"/>
          <a:ea typeface="+mn-ea"/>
          <a:cs typeface="+mn-cs"/>
        </a:defRPr>
      </a:lvl3pPr>
      <a:lvl4pPr marL="807244" indent="-202406" algn="l" defTabSz="685800" rtl="0" eaLnBrk="1" fontAlgn="base" latinLnBrk="0" hangingPunct="1">
        <a:spcBef>
          <a:spcPts val="0"/>
        </a:spcBef>
        <a:spcAft>
          <a:spcPct val="0"/>
        </a:spcAft>
        <a:buClr>
          <a:srgbClr val="FFD500"/>
        </a:buClr>
        <a:buSzPct val="120000"/>
        <a:buFont typeface="Arial" pitchFamily="34" charset="0"/>
        <a:buChar char="•"/>
        <a:defRPr lang="sv-SE" sz="1350" kern="1200" baseline="0" dirty="0" smtClean="0">
          <a:solidFill>
            <a:srgbClr val="3C3C3C"/>
          </a:solidFill>
          <a:latin typeface="Arial" charset="0"/>
          <a:ea typeface="+mn-ea"/>
          <a:cs typeface="+mn-cs"/>
        </a:defRPr>
      </a:lvl4pPr>
      <a:lvl5pPr marL="1008460" indent="-201216" algn="l" defTabSz="685800" rtl="0" eaLnBrk="1" fontAlgn="base" latinLnBrk="0" hangingPunct="1">
        <a:spcBef>
          <a:spcPts val="0"/>
        </a:spcBef>
        <a:spcAft>
          <a:spcPct val="0"/>
        </a:spcAft>
        <a:buClr>
          <a:srgbClr val="FFD500"/>
        </a:buClr>
        <a:buSzPct val="120000"/>
        <a:buFont typeface="Arial" pitchFamily="34" charset="0"/>
        <a:buChar char="•"/>
        <a:defRPr lang="sv-SE" sz="1350" kern="1200" baseline="0" dirty="0">
          <a:solidFill>
            <a:srgbClr val="3C3C3C"/>
          </a:solidFill>
          <a:latin typeface="Arial" charset="0"/>
          <a:ea typeface="+mn-ea"/>
          <a:cs typeface="+mn-cs"/>
        </a:defRPr>
      </a:lvl5pPr>
      <a:lvl6pPr marL="810816" indent="-20836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9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9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9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9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9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9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gi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outdoor&#10;&#10;Description automatically generated">
            <a:extLst>
              <a:ext uri="{FF2B5EF4-FFF2-40B4-BE49-F238E27FC236}">
                <a16:creationId xmlns:a16="http://schemas.microsoft.com/office/drawing/2014/main" id="{F7A87C98-AF77-68BD-0F48-91BCD439CAC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7818" y="0"/>
            <a:ext cx="9351818" cy="5143500"/>
          </a:xfrm>
          <a:prstGeom prst="rect">
            <a:avLst/>
          </a:prstGeom>
        </p:spPr>
      </p:pic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D3F88FA-113B-4225-94BE-3E339F724D01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GB"/>
              <a:t>15 March, 2023</a:t>
            </a:r>
            <a:endParaRPr lang="en-GB" dirty="0"/>
          </a:p>
        </p:txBody>
      </p:sp>
      <p:sp>
        <p:nvSpPr>
          <p:cNvPr id="7" name="Platshållare för sidfot 6">
            <a:extLst>
              <a:ext uri="{FF2B5EF4-FFF2-40B4-BE49-F238E27FC236}">
                <a16:creationId xmlns:a16="http://schemas.microsoft.com/office/drawing/2014/main" id="{7D6901BD-51DA-4585-AB4A-AF3FBAB03C0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2023 Nynas. All rights reserved.</a:t>
            </a:r>
            <a:endParaRPr lang="sv-SE" dirty="0"/>
          </a:p>
        </p:txBody>
      </p:sp>
      <p:sp>
        <p:nvSpPr>
          <p:cNvPr id="8" name="Platshållare för bildnummer 7">
            <a:extLst>
              <a:ext uri="{FF2B5EF4-FFF2-40B4-BE49-F238E27FC236}">
                <a16:creationId xmlns:a16="http://schemas.microsoft.com/office/drawing/2014/main" id="{CF8A5C2C-123B-4C82-947F-5673DB6871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A49F53B-68F7-402D-8883-CC8AD69B34F2}" type="slidenum">
              <a:rPr lang="en-GB" smtClean="0"/>
              <a:pPr/>
              <a:t>1</a:t>
            </a:fld>
            <a:endParaRPr lang="en-GB" dirty="0"/>
          </a:p>
        </p:txBody>
      </p:sp>
      <p:sp>
        <p:nvSpPr>
          <p:cNvPr id="9" name="Speech Bubble: Rectangle 8">
            <a:extLst>
              <a:ext uri="{FF2B5EF4-FFF2-40B4-BE49-F238E27FC236}">
                <a16:creationId xmlns:a16="http://schemas.microsoft.com/office/drawing/2014/main" id="{C6ACF4E5-D2CD-321C-5949-8B067393302E}"/>
              </a:ext>
            </a:extLst>
          </p:cNvPr>
          <p:cNvSpPr/>
          <p:nvPr/>
        </p:nvSpPr>
        <p:spPr>
          <a:xfrm>
            <a:off x="3869265" y="298054"/>
            <a:ext cx="4980635" cy="1261482"/>
          </a:xfrm>
          <a:prstGeom prst="wedgeRectCallout">
            <a:avLst>
              <a:gd name="adj1" fmla="val -25146"/>
              <a:gd name="adj2" fmla="val 63996"/>
            </a:avLst>
          </a:prstGeom>
          <a:solidFill>
            <a:srgbClr val="FBD1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/>
          <a:p>
            <a:pPr algn="ctr"/>
            <a:endParaRPr lang="fi-FI" sz="1200" dirty="0">
              <a:solidFill>
                <a:schemeClr val="tx1"/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0DC1A16-3B13-2C3F-3154-C33A97EDF91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979639" y="474133"/>
            <a:ext cx="4707162" cy="948266"/>
          </a:xfrm>
        </p:spPr>
        <p:txBody>
          <a:bodyPr/>
          <a:lstStyle/>
          <a:p>
            <a:r>
              <a:rPr lang="fi-FI" sz="1900" dirty="0"/>
              <a:t>Tiebitumien ominaisuudet ja laadunvalvonta</a:t>
            </a:r>
          </a:p>
          <a:p>
            <a:endParaRPr lang="fi-FI" sz="1200" dirty="0"/>
          </a:p>
          <a:p>
            <a:r>
              <a:rPr lang="fi-FI" sz="1800" dirty="0"/>
              <a:t>Helena Remes / Nynas Oy</a:t>
            </a:r>
          </a:p>
          <a:p>
            <a:r>
              <a:rPr lang="fi-FI" sz="1800" dirty="0"/>
              <a:t>15.3.2023</a:t>
            </a:r>
          </a:p>
        </p:txBody>
      </p:sp>
    </p:spTree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235C370F-56DE-A8DD-E09E-DCF55E237535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32001" y="1080000"/>
            <a:ext cx="5037360" cy="3456000"/>
          </a:xfrm>
        </p:spPr>
        <p:txBody>
          <a:bodyPr/>
          <a:lstStyle/>
          <a:p>
            <a:r>
              <a:rPr lang="fi-FI" dirty="0"/>
              <a:t>CE-merkintä on valmistajan tai valtuutetun edustajan vakuutus siitä, että tuote</a:t>
            </a:r>
          </a:p>
          <a:p>
            <a:pPr lvl="1"/>
            <a:r>
              <a:rPr lang="fi-FI" dirty="0"/>
              <a:t>Täyttää tuotestandardissa asetetut </a:t>
            </a:r>
            <a:r>
              <a:rPr lang="fi-FI" b="1" dirty="0"/>
              <a:t>olennaisten ominaisuuksien </a:t>
            </a:r>
            <a:r>
              <a:rPr lang="fi-FI" dirty="0"/>
              <a:t>vaatimukset</a:t>
            </a:r>
            <a:endParaRPr lang="fi-FI" b="1" dirty="0"/>
          </a:p>
          <a:p>
            <a:pPr lvl="1"/>
            <a:r>
              <a:rPr lang="fi-FI" dirty="0"/>
              <a:t>On tyyppitestattu</a:t>
            </a:r>
          </a:p>
          <a:p>
            <a:pPr lvl="1"/>
            <a:r>
              <a:rPr lang="fi-FI" dirty="0"/>
              <a:t>On suoritustasoilmoituksen mukainen</a:t>
            </a:r>
          </a:p>
          <a:p>
            <a:r>
              <a:rPr lang="fi-FI" dirty="0"/>
              <a:t>Asfalttinormit = </a:t>
            </a:r>
            <a:r>
              <a:rPr lang="en-GB" dirty="0" err="1"/>
              <a:t>Suomen</a:t>
            </a:r>
            <a:r>
              <a:rPr lang="en-GB" dirty="0"/>
              <a:t> </a:t>
            </a:r>
            <a:r>
              <a:rPr lang="en-GB" b="1" dirty="0" err="1"/>
              <a:t>kansallinen</a:t>
            </a:r>
            <a:r>
              <a:rPr lang="en-GB" b="1" dirty="0"/>
              <a:t> </a:t>
            </a:r>
            <a:r>
              <a:rPr lang="en-GB" b="1" dirty="0" err="1"/>
              <a:t>soveltamissohje</a:t>
            </a:r>
            <a:r>
              <a:rPr lang="en-GB" b="1" dirty="0"/>
              <a:t> </a:t>
            </a:r>
            <a:r>
              <a:rPr lang="en-GB" dirty="0" err="1"/>
              <a:t>tuotenstandardeille</a:t>
            </a:r>
            <a:endParaRPr lang="en-GB" dirty="0"/>
          </a:p>
          <a:p>
            <a:pPr lvl="1"/>
            <a:r>
              <a:rPr lang="en-GB" dirty="0" err="1"/>
              <a:t>Kaikki</a:t>
            </a:r>
            <a:r>
              <a:rPr lang="en-GB" dirty="0"/>
              <a:t> </a:t>
            </a:r>
            <a:r>
              <a:rPr lang="en-GB" dirty="0" err="1"/>
              <a:t>tuotestandardissa</a:t>
            </a:r>
            <a:r>
              <a:rPr lang="en-GB" dirty="0"/>
              <a:t> </a:t>
            </a:r>
            <a:r>
              <a:rPr lang="en-GB" dirty="0" err="1"/>
              <a:t>esitetyt</a:t>
            </a:r>
            <a:r>
              <a:rPr lang="en-GB" dirty="0"/>
              <a:t> </a:t>
            </a:r>
            <a:r>
              <a:rPr lang="en-GB" dirty="0" err="1"/>
              <a:t>ominaisuudet</a:t>
            </a:r>
            <a:r>
              <a:rPr lang="en-GB" dirty="0"/>
              <a:t>, </a:t>
            </a:r>
            <a:r>
              <a:rPr lang="en-GB" dirty="0" err="1"/>
              <a:t>jotka</a:t>
            </a:r>
            <a:r>
              <a:rPr lang="en-GB" dirty="0"/>
              <a:t> on </a:t>
            </a:r>
            <a:r>
              <a:rPr lang="en-GB" dirty="0" err="1"/>
              <a:t>Suomessa</a:t>
            </a:r>
            <a:r>
              <a:rPr lang="en-GB" dirty="0"/>
              <a:t> </a:t>
            </a:r>
            <a:r>
              <a:rPr lang="en-GB" dirty="0" err="1"/>
              <a:t>valittu</a:t>
            </a:r>
            <a:r>
              <a:rPr lang="en-GB" dirty="0"/>
              <a:t> </a:t>
            </a:r>
            <a:r>
              <a:rPr lang="en-GB" dirty="0" err="1"/>
              <a:t>käyttöön</a:t>
            </a:r>
            <a:r>
              <a:rPr lang="en-GB" dirty="0"/>
              <a:t> (</a:t>
            </a:r>
            <a:r>
              <a:rPr lang="en-GB" dirty="0" err="1"/>
              <a:t>esim</a:t>
            </a:r>
            <a:r>
              <a:rPr lang="en-GB" dirty="0"/>
              <a:t>. </a:t>
            </a:r>
            <a:r>
              <a:rPr lang="en-GB" dirty="0" err="1"/>
              <a:t>ilmastoon</a:t>
            </a:r>
            <a:r>
              <a:rPr lang="en-GB" dirty="0"/>
              <a:t> </a:t>
            </a:r>
            <a:r>
              <a:rPr lang="en-GB" dirty="0" err="1"/>
              <a:t>perustuen</a:t>
            </a:r>
            <a:r>
              <a:rPr lang="en-GB" dirty="0"/>
              <a:t>)</a:t>
            </a:r>
            <a:endParaRPr lang="fi-FI" dirty="0"/>
          </a:p>
        </p:txBody>
      </p:sp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B5905D42-1B07-EB89-5665-DF0D8E4D00EE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/>
          <a:stretch/>
        </p:blipFill>
        <p:spPr>
          <a:xfrm>
            <a:off x="5469361" y="843749"/>
            <a:ext cx="3557824" cy="3456001"/>
          </a:xfr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7CEECE4C-DD0B-799C-BECD-3D68D09574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/>
              <a:t>CE-merkintä ja Asfalttinormien laatuvaatimukse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5A56142-A964-ACBA-C472-884A72FB6E8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A49F53B-68F7-402D-8883-CC8AD69B34F2}" type="slidenum">
              <a:rPr lang="en-GB" smtClean="0"/>
              <a:pPr/>
              <a:t>10</a:t>
            </a:fld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6FA35078-8FDC-BB06-2CDC-D06C19E2643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GB"/>
              <a:t>15 March, 2023</a:t>
            </a:r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C8770121-28A4-ACFA-3D1D-BD3E6402A9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2023 Nynas. All rights reserved.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09770110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999BD4-C41E-0ECF-251E-96001CC734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/>
              <a:t>Tiebitumien laatuvaatimukset Asfalttinormeissa </a:t>
            </a:r>
            <a:r>
              <a:rPr lang="fi-FI" sz="1400" dirty="0"/>
              <a:t>(SFS-EN 12591)</a:t>
            </a:r>
            <a:endParaRPr lang="fi-FI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DFB627C-9FAE-94FF-32B9-CF5662A024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A49F53B-68F7-402D-8883-CC8AD69B34F2}" type="slidenum">
              <a:rPr lang="en-GB" smtClean="0"/>
              <a:pPr/>
              <a:t>11</a:t>
            </a:fld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2DDD822-D1AC-0B88-2FCF-1386A241C85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GB"/>
              <a:t>15 March, 2023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17DD19-3100-FA69-C6C5-CC9B17D18C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2023 Nynas. All rights reserved.</a:t>
            </a:r>
            <a:endParaRPr lang="sv-SE" dirty="0"/>
          </a:p>
        </p:txBody>
      </p:sp>
      <p:graphicFrame>
        <p:nvGraphicFramePr>
          <p:cNvPr id="7" name="Content Placeholder 1">
            <a:extLst>
              <a:ext uri="{FF2B5EF4-FFF2-40B4-BE49-F238E27FC236}">
                <a16:creationId xmlns:a16="http://schemas.microsoft.com/office/drawing/2014/main" id="{F2A26B2A-A375-9156-A406-22F3677FBDFF}"/>
              </a:ext>
            </a:extLst>
          </p:cNvPr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1867297228"/>
              </p:ext>
            </p:extLst>
          </p:nvPr>
        </p:nvGraphicFramePr>
        <p:xfrm>
          <a:off x="1030034" y="1049881"/>
          <a:ext cx="6869631" cy="3404718"/>
        </p:xfrm>
        <a:graphic>
          <a:graphicData uri="http://schemas.openxmlformats.org/drawingml/2006/table">
            <a:tbl>
              <a:tblPr firstRow="1" firstCol="1" lastRow="1" lastCol="1" bandRow="1" bandCol="1">
                <a:tableStyleId>{5940675A-B579-460E-94D1-54222C63F5DA}</a:tableStyleId>
              </a:tblPr>
              <a:tblGrid>
                <a:gridCol w="1457735">
                  <a:extLst>
                    <a:ext uri="{9D8B030D-6E8A-4147-A177-3AD203B41FA5}">
                      <a16:colId xmlns:a16="http://schemas.microsoft.com/office/drawing/2014/main" val="786723196"/>
                    </a:ext>
                  </a:extLst>
                </a:gridCol>
                <a:gridCol w="555066">
                  <a:extLst>
                    <a:ext uri="{9D8B030D-6E8A-4147-A177-3AD203B41FA5}">
                      <a16:colId xmlns:a16="http://schemas.microsoft.com/office/drawing/2014/main" val="199605358"/>
                    </a:ext>
                  </a:extLst>
                </a:gridCol>
                <a:gridCol w="1164858">
                  <a:extLst>
                    <a:ext uri="{9D8B030D-6E8A-4147-A177-3AD203B41FA5}">
                      <a16:colId xmlns:a16="http://schemas.microsoft.com/office/drawing/2014/main" val="3496878272"/>
                    </a:ext>
                  </a:extLst>
                </a:gridCol>
                <a:gridCol w="512706">
                  <a:extLst>
                    <a:ext uri="{9D8B030D-6E8A-4147-A177-3AD203B41FA5}">
                      <a16:colId xmlns:a16="http://schemas.microsoft.com/office/drawing/2014/main" val="1712597414"/>
                    </a:ext>
                  </a:extLst>
                </a:gridCol>
                <a:gridCol w="636128">
                  <a:extLst>
                    <a:ext uri="{9D8B030D-6E8A-4147-A177-3AD203B41FA5}">
                      <a16:colId xmlns:a16="http://schemas.microsoft.com/office/drawing/2014/main" val="1265331503"/>
                    </a:ext>
                  </a:extLst>
                </a:gridCol>
                <a:gridCol w="636128">
                  <a:extLst>
                    <a:ext uri="{9D8B030D-6E8A-4147-A177-3AD203B41FA5}">
                      <a16:colId xmlns:a16="http://schemas.microsoft.com/office/drawing/2014/main" val="3544389038"/>
                    </a:ext>
                  </a:extLst>
                </a:gridCol>
                <a:gridCol w="636128">
                  <a:extLst>
                    <a:ext uri="{9D8B030D-6E8A-4147-A177-3AD203B41FA5}">
                      <a16:colId xmlns:a16="http://schemas.microsoft.com/office/drawing/2014/main" val="1330068209"/>
                    </a:ext>
                  </a:extLst>
                </a:gridCol>
                <a:gridCol w="636128">
                  <a:extLst>
                    <a:ext uri="{9D8B030D-6E8A-4147-A177-3AD203B41FA5}">
                      <a16:colId xmlns:a16="http://schemas.microsoft.com/office/drawing/2014/main" val="4053651953"/>
                    </a:ext>
                  </a:extLst>
                </a:gridCol>
                <a:gridCol w="634754">
                  <a:extLst>
                    <a:ext uri="{9D8B030D-6E8A-4147-A177-3AD203B41FA5}">
                      <a16:colId xmlns:a16="http://schemas.microsoft.com/office/drawing/2014/main" val="1677701116"/>
                    </a:ext>
                  </a:extLst>
                </a:gridCol>
              </a:tblGrid>
              <a:tr h="189068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 dirty="0">
                          <a:effectLst/>
                        </a:rPr>
                        <a:t>Bitumiluokka</a:t>
                      </a:r>
                      <a:endParaRPr lang="fi-FI" sz="9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>
                          <a:effectLst/>
                        </a:rPr>
                        <a:t> </a:t>
                      </a:r>
                      <a:endParaRPr lang="fi-FI" sz="9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 dirty="0">
                          <a:effectLst/>
                        </a:rPr>
                        <a:t>Menetelmä</a:t>
                      </a:r>
                      <a:endParaRPr lang="fi-FI" sz="9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  <a:tabLst>
                          <a:tab pos="1257300" algn="l"/>
                        </a:tabLst>
                      </a:pPr>
                      <a:r>
                        <a:rPr lang="fi-FI" sz="900" dirty="0">
                          <a:effectLst/>
                        </a:rPr>
                        <a:t>20/30</a:t>
                      </a:r>
                      <a:endParaRPr lang="fi-FI" sz="9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  <a:tabLst>
                          <a:tab pos="1257300" algn="l"/>
                        </a:tabLst>
                      </a:pPr>
                      <a:r>
                        <a:rPr lang="fi-FI" sz="900" dirty="0">
                          <a:effectLst/>
                        </a:rPr>
                        <a:t>35/50</a:t>
                      </a:r>
                      <a:endParaRPr lang="fi-FI" sz="9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  <a:tabLst>
                          <a:tab pos="1257300" algn="l"/>
                        </a:tabLst>
                      </a:pPr>
                      <a:r>
                        <a:rPr lang="fi-FI" sz="900">
                          <a:effectLst/>
                        </a:rPr>
                        <a:t>50/70</a:t>
                      </a:r>
                      <a:endParaRPr lang="fi-FI" sz="9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  <a:tabLst>
                          <a:tab pos="1257300" algn="l"/>
                        </a:tabLst>
                      </a:pPr>
                      <a:r>
                        <a:rPr lang="fi-FI" sz="900">
                          <a:effectLst/>
                        </a:rPr>
                        <a:t>70/100</a:t>
                      </a:r>
                      <a:endParaRPr lang="fi-FI" sz="9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  <a:tabLst>
                          <a:tab pos="1257300" algn="l"/>
                        </a:tabLst>
                      </a:pPr>
                      <a:r>
                        <a:rPr lang="fi-FI" sz="900">
                          <a:effectLst/>
                        </a:rPr>
                        <a:t>100/150</a:t>
                      </a:r>
                      <a:endParaRPr lang="fi-FI" sz="9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  <a:tabLst>
                          <a:tab pos="1257300" algn="l"/>
                        </a:tabLst>
                      </a:pPr>
                      <a:r>
                        <a:rPr lang="fi-FI" sz="900" dirty="0">
                          <a:effectLst/>
                        </a:rPr>
                        <a:t>160/220</a:t>
                      </a:r>
                      <a:endParaRPr lang="fi-FI" sz="9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:a16="http://schemas.microsoft.com/office/drawing/2014/main" val="544057453"/>
                  </a:ext>
                </a:extLst>
              </a:tr>
              <a:tr h="261556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>
                          <a:effectLst/>
                        </a:rPr>
                        <a:t>Tunkeuma, 25 °C </a:t>
                      </a:r>
                      <a:endParaRPr lang="fi-FI" sz="9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>
                          <a:effectLst/>
                        </a:rPr>
                        <a:t>0,1 mm</a:t>
                      </a:r>
                      <a:endParaRPr lang="fi-FI" sz="9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>
                          <a:effectLst/>
                        </a:rPr>
                        <a:t>SFS-EN 1426</a:t>
                      </a:r>
                      <a:endParaRPr lang="fi-FI" sz="9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>
                          <a:effectLst/>
                        </a:rPr>
                        <a:t>20-30</a:t>
                      </a:r>
                      <a:endParaRPr lang="fi-FI" sz="9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 dirty="0">
                          <a:effectLst/>
                        </a:rPr>
                        <a:t>35-50</a:t>
                      </a:r>
                      <a:endParaRPr lang="fi-FI" sz="9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>
                          <a:effectLst/>
                        </a:rPr>
                        <a:t>50-70</a:t>
                      </a:r>
                      <a:endParaRPr lang="fi-FI" sz="9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>
                          <a:effectLst/>
                        </a:rPr>
                        <a:t>70-100</a:t>
                      </a:r>
                      <a:endParaRPr lang="fi-FI" sz="9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>
                          <a:effectLst/>
                        </a:rPr>
                        <a:t>100-150</a:t>
                      </a:r>
                      <a:endParaRPr lang="fi-FI" sz="9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 dirty="0">
                          <a:effectLst/>
                        </a:rPr>
                        <a:t>160-220</a:t>
                      </a:r>
                      <a:endParaRPr lang="fi-FI" sz="9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:a16="http://schemas.microsoft.com/office/drawing/2014/main" val="2132889223"/>
                  </a:ext>
                </a:extLst>
              </a:tr>
              <a:tr h="286685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>
                          <a:effectLst/>
                        </a:rPr>
                        <a:t>Pehmenemispiste </a:t>
                      </a:r>
                      <a:endParaRPr lang="fi-FI" sz="9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>
                          <a:effectLst/>
                        </a:rPr>
                        <a:t>°C</a:t>
                      </a:r>
                      <a:endParaRPr lang="fi-FI" sz="9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>
                          <a:effectLst/>
                        </a:rPr>
                        <a:t>SFS-EN 1427</a:t>
                      </a:r>
                      <a:endParaRPr lang="fi-FI" sz="9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>
                          <a:effectLst/>
                        </a:rPr>
                        <a:t>55,0-63,0</a:t>
                      </a:r>
                      <a:endParaRPr lang="fi-FI" sz="9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 dirty="0">
                          <a:effectLst/>
                        </a:rPr>
                        <a:t>50,0-58,0</a:t>
                      </a:r>
                      <a:endParaRPr lang="fi-FI" sz="9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>
                          <a:effectLst/>
                        </a:rPr>
                        <a:t>46,0-54,0</a:t>
                      </a:r>
                      <a:endParaRPr lang="fi-FI" sz="9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>
                          <a:effectLst/>
                        </a:rPr>
                        <a:t>43,0-51,0</a:t>
                      </a:r>
                      <a:endParaRPr lang="fi-FI" sz="9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>
                          <a:effectLst/>
                        </a:rPr>
                        <a:t>39,0-47,0</a:t>
                      </a:r>
                      <a:endParaRPr lang="fi-FI" sz="9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 dirty="0">
                          <a:effectLst/>
                        </a:rPr>
                        <a:t>35,0-43,0</a:t>
                      </a:r>
                      <a:endParaRPr lang="fi-FI" sz="9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:a16="http://schemas.microsoft.com/office/drawing/2014/main" val="2861189559"/>
                  </a:ext>
                </a:extLst>
              </a:tr>
              <a:tr h="350324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  <a:tabLst>
                          <a:tab pos="1257300" algn="l"/>
                        </a:tabLst>
                      </a:pPr>
                      <a:r>
                        <a:rPr lang="fi-FI" sz="900" dirty="0">
                          <a:effectLst/>
                        </a:rPr>
                        <a:t>Dynaaminen viskositeetti, 60 °C </a:t>
                      </a:r>
                      <a:endParaRPr lang="fi-FI" sz="9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  <a:tabLst>
                          <a:tab pos="1257300" algn="l"/>
                        </a:tabLst>
                      </a:pPr>
                      <a:r>
                        <a:rPr lang="fi-FI" sz="900">
                          <a:effectLst/>
                        </a:rPr>
                        <a:t>Pas</a:t>
                      </a:r>
                      <a:endParaRPr lang="fi-FI" sz="9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  <a:tabLst>
                          <a:tab pos="1257300" algn="l"/>
                        </a:tabLst>
                      </a:pPr>
                      <a:r>
                        <a:rPr lang="fi-FI" sz="900">
                          <a:effectLst/>
                        </a:rPr>
                        <a:t>SFS-EN 12596</a:t>
                      </a:r>
                      <a:endParaRPr lang="fi-FI" sz="9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  <a:tabLst>
                          <a:tab pos="1257300" algn="l"/>
                        </a:tabLst>
                      </a:pPr>
                      <a:r>
                        <a:rPr lang="fi-FI" sz="900">
                          <a:effectLst/>
                        </a:rPr>
                        <a:t>≥ 440</a:t>
                      </a:r>
                      <a:endParaRPr lang="fi-FI" sz="9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  <a:tabLst>
                          <a:tab pos="1257300" algn="l"/>
                        </a:tabLst>
                      </a:pPr>
                      <a:r>
                        <a:rPr lang="fi-FI" sz="900" dirty="0">
                          <a:effectLst/>
                        </a:rPr>
                        <a:t>≥ 225</a:t>
                      </a:r>
                      <a:endParaRPr lang="fi-FI" sz="9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  <a:tabLst>
                          <a:tab pos="1257300" algn="l"/>
                        </a:tabLst>
                      </a:pPr>
                      <a:r>
                        <a:rPr lang="fi-FI" sz="900">
                          <a:effectLst/>
                        </a:rPr>
                        <a:t>≥ 145</a:t>
                      </a:r>
                      <a:endParaRPr lang="fi-FI" sz="9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  <a:tabLst>
                          <a:tab pos="1257300" algn="l"/>
                        </a:tabLst>
                      </a:pPr>
                      <a:r>
                        <a:rPr lang="fi-FI" sz="900">
                          <a:effectLst/>
                        </a:rPr>
                        <a:t>≥ 90</a:t>
                      </a:r>
                      <a:endParaRPr lang="fi-FI" sz="9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  <a:tabLst>
                          <a:tab pos="1257300" algn="l"/>
                        </a:tabLst>
                      </a:pPr>
                      <a:r>
                        <a:rPr lang="fi-FI" sz="900">
                          <a:effectLst/>
                        </a:rPr>
                        <a:t>≥ 55</a:t>
                      </a:r>
                      <a:endParaRPr lang="fi-FI" sz="9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  <a:tabLst>
                          <a:tab pos="1257300" algn="l"/>
                        </a:tabLst>
                      </a:pPr>
                      <a:r>
                        <a:rPr lang="fi-FI" sz="900" dirty="0">
                          <a:effectLst/>
                        </a:rPr>
                        <a:t>≥ 30</a:t>
                      </a:r>
                      <a:endParaRPr lang="fi-FI" sz="9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:a16="http://schemas.microsoft.com/office/drawing/2014/main" val="1415806489"/>
                  </a:ext>
                </a:extLst>
              </a:tr>
              <a:tr h="349128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 dirty="0">
                          <a:effectLst/>
                        </a:rPr>
                        <a:t>Kinemaattinen viskositeetti, 135 °C </a:t>
                      </a:r>
                      <a:endParaRPr lang="fi-FI" sz="9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>
                          <a:effectLst/>
                        </a:rPr>
                        <a:t>mm</a:t>
                      </a:r>
                      <a:r>
                        <a:rPr lang="fi-FI" sz="900" baseline="30000">
                          <a:effectLst/>
                        </a:rPr>
                        <a:t>2</a:t>
                      </a:r>
                      <a:r>
                        <a:rPr lang="fi-FI" sz="900">
                          <a:effectLst/>
                        </a:rPr>
                        <a:t>/s</a:t>
                      </a:r>
                      <a:endParaRPr lang="fi-FI" sz="9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>
                          <a:effectLst/>
                        </a:rPr>
                        <a:t>SFS-EN 12595</a:t>
                      </a:r>
                      <a:endParaRPr lang="fi-FI" sz="9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 dirty="0">
                          <a:effectLst/>
                        </a:rPr>
                        <a:t>≥ 530</a:t>
                      </a:r>
                      <a:endParaRPr lang="fi-FI" sz="9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 dirty="0">
                          <a:effectLst/>
                        </a:rPr>
                        <a:t>≥ 370</a:t>
                      </a:r>
                      <a:endParaRPr lang="fi-FI" sz="9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>
                          <a:effectLst/>
                        </a:rPr>
                        <a:t>≥ 295</a:t>
                      </a:r>
                      <a:endParaRPr lang="fi-FI" sz="9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>
                          <a:effectLst/>
                        </a:rPr>
                        <a:t>≥ 230</a:t>
                      </a:r>
                      <a:endParaRPr lang="fi-FI" sz="9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>
                          <a:effectLst/>
                        </a:rPr>
                        <a:t>≥175</a:t>
                      </a:r>
                      <a:endParaRPr lang="fi-FI" sz="9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 dirty="0">
                          <a:effectLst/>
                        </a:rPr>
                        <a:t>≥ 135</a:t>
                      </a:r>
                      <a:endParaRPr lang="fi-FI" sz="9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:a16="http://schemas.microsoft.com/office/drawing/2014/main" val="360309849"/>
                  </a:ext>
                </a:extLst>
              </a:tr>
              <a:tr h="240776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 dirty="0">
                          <a:effectLst/>
                        </a:rPr>
                        <a:t>Murtumispiste, </a:t>
                      </a:r>
                      <a:r>
                        <a:rPr lang="fi-FI" sz="900" dirty="0" err="1">
                          <a:effectLst/>
                        </a:rPr>
                        <a:t>Fraass</a:t>
                      </a:r>
                      <a:endParaRPr lang="fi-FI" sz="9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>
                          <a:effectLst/>
                        </a:rPr>
                        <a:t>°C</a:t>
                      </a:r>
                      <a:endParaRPr lang="fi-FI" sz="9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>
                          <a:effectLst/>
                        </a:rPr>
                        <a:t>SFS-EN 12593</a:t>
                      </a:r>
                      <a:endParaRPr lang="fi-FI" sz="9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>
                          <a:effectLst/>
                        </a:rPr>
                        <a:t> </a:t>
                      </a:r>
                      <a:endParaRPr lang="fi-FI" sz="9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 dirty="0">
                          <a:effectLst/>
                          <a:sym typeface="Symbol" panose="05050102010706020507" pitchFamily="18" charset="2"/>
                        </a:rPr>
                        <a:t></a:t>
                      </a:r>
                      <a:r>
                        <a:rPr lang="fi-FI" sz="900" dirty="0">
                          <a:effectLst/>
                        </a:rPr>
                        <a:t> -5</a:t>
                      </a:r>
                      <a:endParaRPr lang="fi-FI" sz="9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>
                          <a:effectLst/>
                          <a:sym typeface="Symbol" panose="05050102010706020507" pitchFamily="18" charset="2"/>
                        </a:rPr>
                        <a:t></a:t>
                      </a:r>
                      <a:r>
                        <a:rPr lang="fi-FI" sz="900">
                          <a:effectLst/>
                        </a:rPr>
                        <a:t> -8</a:t>
                      </a:r>
                      <a:endParaRPr lang="fi-FI" sz="9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>
                          <a:effectLst/>
                          <a:sym typeface="Symbol" panose="05050102010706020507" pitchFamily="18" charset="2"/>
                        </a:rPr>
                        <a:t></a:t>
                      </a:r>
                      <a:r>
                        <a:rPr lang="fi-FI" sz="900">
                          <a:effectLst/>
                        </a:rPr>
                        <a:t> -10</a:t>
                      </a:r>
                      <a:endParaRPr lang="fi-FI" sz="9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>
                          <a:effectLst/>
                          <a:sym typeface="Symbol" panose="05050102010706020507" pitchFamily="18" charset="2"/>
                        </a:rPr>
                        <a:t></a:t>
                      </a:r>
                      <a:r>
                        <a:rPr lang="fi-FI" sz="900">
                          <a:effectLst/>
                        </a:rPr>
                        <a:t> -12</a:t>
                      </a:r>
                      <a:endParaRPr lang="fi-FI" sz="9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 dirty="0">
                          <a:effectLst/>
                          <a:sym typeface="Symbol" panose="05050102010706020507" pitchFamily="18" charset="2"/>
                        </a:rPr>
                        <a:t></a:t>
                      </a:r>
                      <a:r>
                        <a:rPr lang="fi-FI" sz="900" dirty="0">
                          <a:effectLst/>
                        </a:rPr>
                        <a:t> -15</a:t>
                      </a:r>
                      <a:endParaRPr lang="fi-FI" sz="9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:a16="http://schemas.microsoft.com/office/drawing/2014/main" val="3407363396"/>
                  </a:ext>
                </a:extLst>
              </a:tr>
              <a:tr h="242954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 dirty="0">
                          <a:effectLst/>
                        </a:rPr>
                        <a:t>Ohutkalvokoe RTFOT 163 °C </a:t>
                      </a:r>
                      <a:endParaRPr lang="fi-FI" sz="9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 dirty="0">
                          <a:effectLst/>
                        </a:rPr>
                        <a:t> </a:t>
                      </a:r>
                      <a:endParaRPr lang="fi-FI" sz="9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>
                          <a:effectLst/>
                        </a:rPr>
                        <a:t>SFS-EN 12607-1</a:t>
                      </a:r>
                      <a:endParaRPr lang="fi-FI" sz="9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>
                          <a:effectLst/>
                        </a:rPr>
                        <a:t> </a:t>
                      </a:r>
                      <a:endParaRPr lang="fi-FI" sz="9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 dirty="0">
                          <a:effectLst/>
                        </a:rPr>
                        <a:t> </a:t>
                      </a:r>
                      <a:endParaRPr lang="fi-FI" sz="9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>
                          <a:effectLst/>
                        </a:rPr>
                        <a:t> </a:t>
                      </a:r>
                      <a:endParaRPr lang="fi-FI" sz="9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>
                          <a:effectLst/>
                        </a:rPr>
                        <a:t> </a:t>
                      </a:r>
                      <a:endParaRPr lang="fi-FI" sz="9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>
                          <a:effectLst/>
                        </a:rPr>
                        <a:t> </a:t>
                      </a:r>
                      <a:endParaRPr lang="fi-FI" sz="9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 dirty="0">
                          <a:effectLst/>
                        </a:rPr>
                        <a:t> </a:t>
                      </a:r>
                      <a:endParaRPr lang="fi-FI" sz="9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:a16="http://schemas.microsoft.com/office/drawing/2014/main" val="3723095468"/>
                  </a:ext>
                </a:extLst>
              </a:tr>
              <a:tr h="242954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 dirty="0">
                          <a:effectLst/>
                        </a:rPr>
                        <a:t>  - massan muutos </a:t>
                      </a:r>
                      <a:endParaRPr lang="fi-FI" sz="9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>
                          <a:effectLst/>
                        </a:rPr>
                        <a:t>± m-%</a:t>
                      </a:r>
                      <a:endParaRPr lang="fi-FI" sz="9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>
                          <a:effectLst/>
                        </a:rPr>
                        <a:t> </a:t>
                      </a:r>
                      <a:endParaRPr lang="fi-FI" sz="9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>
                          <a:effectLst/>
                          <a:sym typeface="Symbol" panose="05050102010706020507" pitchFamily="18" charset="2"/>
                        </a:rPr>
                        <a:t></a:t>
                      </a:r>
                      <a:r>
                        <a:rPr lang="fi-FI" sz="900">
                          <a:effectLst/>
                        </a:rPr>
                        <a:t> 0,5</a:t>
                      </a:r>
                      <a:endParaRPr lang="fi-FI" sz="9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 dirty="0">
                          <a:effectLst/>
                          <a:sym typeface="Symbol" panose="05050102010706020507" pitchFamily="18" charset="2"/>
                        </a:rPr>
                        <a:t></a:t>
                      </a:r>
                      <a:r>
                        <a:rPr lang="fi-FI" sz="900" dirty="0">
                          <a:effectLst/>
                        </a:rPr>
                        <a:t> 0,5</a:t>
                      </a:r>
                      <a:endParaRPr lang="fi-FI" sz="9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 dirty="0">
                          <a:effectLst/>
                          <a:sym typeface="Symbol" panose="05050102010706020507" pitchFamily="18" charset="2"/>
                        </a:rPr>
                        <a:t></a:t>
                      </a:r>
                      <a:r>
                        <a:rPr lang="fi-FI" sz="900" dirty="0">
                          <a:effectLst/>
                        </a:rPr>
                        <a:t> 0,5</a:t>
                      </a:r>
                      <a:endParaRPr lang="fi-FI" sz="9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>
                          <a:effectLst/>
                          <a:sym typeface="Symbol" panose="05050102010706020507" pitchFamily="18" charset="2"/>
                        </a:rPr>
                        <a:t></a:t>
                      </a:r>
                      <a:r>
                        <a:rPr lang="fi-FI" sz="900">
                          <a:effectLst/>
                        </a:rPr>
                        <a:t> 0,8</a:t>
                      </a:r>
                      <a:endParaRPr lang="fi-FI" sz="9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>
                          <a:effectLst/>
                          <a:sym typeface="Symbol" panose="05050102010706020507" pitchFamily="18" charset="2"/>
                        </a:rPr>
                        <a:t></a:t>
                      </a:r>
                      <a:r>
                        <a:rPr lang="fi-FI" sz="900">
                          <a:effectLst/>
                        </a:rPr>
                        <a:t> 0,8</a:t>
                      </a:r>
                      <a:endParaRPr lang="fi-FI" sz="9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 dirty="0">
                          <a:effectLst/>
                          <a:sym typeface="Symbol" panose="05050102010706020507" pitchFamily="18" charset="2"/>
                        </a:rPr>
                        <a:t></a:t>
                      </a:r>
                      <a:r>
                        <a:rPr lang="fi-FI" sz="900" dirty="0">
                          <a:effectLst/>
                        </a:rPr>
                        <a:t> 1,0</a:t>
                      </a:r>
                      <a:endParaRPr lang="fi-FI" sz="9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:a16="http://schemas.microsoft.com/office/drawing/2014/main" val="3605799450"/>
                  </a:ext>
                </a:extLst>
              </a:tr>
              <a:tr h="267248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 dirty="0">
                          <a:effectLst/>
                        </a:rPr>
                        <a:t>  - </a:t>
                      </a:r>
                      <a:r>
                        <a:rPr lang="fi-FI" sz="900" dirty="0" err="1">
                          <a:effectLst/>
                        </a:rPr>
                        <a:t>jäännöstunkeuma</a:t>
                      </a:r>
                      <a:endParaRPr lang="fi-FI" sz="9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>
                          <a:effectLst/>
                        </a:rPr>
                        <a:t>%</a:t>
                      </a:r>
                      <a:endParaRPr lang="fi-FI" sz="9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>
                          <a:effectLst/>
                        </a:rPr>
                        <a:t> </a:t>
                      </a:r>
                      <a:endParaRPr lang="fi-FI" sz="9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>
                          <a:effectLst/>
                        </a:rPr>
                        <a:t>≥ 55</a:t>
                      </a:r>
                      <a:endParaRPr lang="fi-FI" sz="9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>
                          <a:effectLst/>
                        </a:rPr>
                        <a:t>≥ 53</a:t>
                      </a:r>
                      <a:endParaRPr lang="fi-FI" sz="9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 dirty="0">
                          <a:effectLst/>
                        </a:rPr>
                        <a:t>≥ 50</a:t>
                      </a:r>
                      <a:endParaRPr lang="fi-FI" sz="9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>
                          <a:effectLst/>
                        </a:rPr>
                        <a:t>≥ 46</a:t>
                      </a:r>
                      <a:endParaRPr lang="fi-FI" sz="9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 dirty="0">
                          <a:effectLst/>
                        </a:rPr>
                        <a:t>≥43</a:t>
                      </a:r>
                      <a:endParaRPr lang="fi-FI" sz="9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 dirty="0">
                          <a:effectLst/>
                        </a:rPr>
                        <a:t>≥ 37</a:t>
                      </a:r>
                      <a:endParaRPr lang="fi-FI" sz="9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:a16="http://schemas.microsoft.com/office/drawing/2014/main" val="1569137316"/>
                  </a:ext>
                </a:extLst>
              </a:tr>
              <a:tr h="378137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 dirty="0">
                          <a:effectLst/>
                        </a:rPr>
                        <a:t>  - pehmenemispisteen</a:t>
                      </a:r>
                      <a:br>
                        <a:rPr lang="fi-FI" sz="900" dirty="0">
                          <a:effectLst/>
                        </a:rPr>
                      </a:br>
                      <a:r>
                        <a:rPr lang="fi-FI" sz="900" dirty="0">
                          <a:effectLst/>
                        </a:rPr>
                        <a:t>    nousu</a:t>
                      </a:r>
                      <a:endParaRPr lang="fi-FI" sz="9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 dirty="0">
                          <a:effectLst/>
                        </a:rPr>
                        <a:t>°C</a:t>
                      </a:r>
                      <a:endParaRPr lang="fi-FI" sz="9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>
                          <a:effectLst/>
                        </a:rPr>
                        <a:t>SFS-EN 1427</a:t>
                      </a:r>
                      <a:endParaRPr lang="fi-FI" sz="9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>
                          <a:effectLst/>
                          <a:sym typeface="Symbol" panose="05050102010706020507" pitchFamily="18" charset="2"/>
                        </a:rPr>
                        <a:t></a:t>
                      </a:r>
                      <a:r>
                        <a:rPr lang="fi-FI" sz="900">
                          <a:effectLst/>
                        </a:rPr>
                        <a:t> 10</a:t>
                      </a:r>
                      <a:endParaRPr lang="fi-FI" sz="9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>
                          <a:effectLst/>
                          <a:sym typeface="Symbol" panose="05050102010706020507" pitchFamily="18" charset="2"/>
                        </a:rPr>
                        <a:t></a:t>
                      </a:r>
                      <a:r>
                        <a:rPr lang="fi-FI" sz="900">
                          <a:effectLst/>
                        </a:rPr>
                        <a:t> 11</a:t>
                      </a:r>
                      <a:endParaRPr lang="fi-FI" sz="9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 dirty="0">
                          <a:effectLst/>
                          <a:sym typeface="Symbol" panose="05050102010706020507" pitchFamily="18" charset="2"/>
                        </a:rPr>
                        <a:t></a:t>
                      </a:r>
                      <a:r>
                        <a:rPr lang="fi-FI" sz="900" dirty="0">
                          <a:effectLst/>
                        </a:rPr>
                        <a:t> 11</a:t>
                      </a:r>
                      <a:endParaRPr lang="fi-FI" sz="9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>
                          <a:effectLst/>
                          <a:sym typeface="Symbol" panose="05050102010706020507" pitchFamily="18" charset="2"/>
                        </a:rPr>
                        <a:t></a:t>
                      </a:r>
                      <a:r>
                        <a:rPr lang="fi-FI" sz="900">
                          <a:effectLst/>
                        </a:rPr>
                        <a:t> 11</a:t>
                      </a:r>
                      <a:endParaRPr lang="fi-FI" sz="9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>
                          <a:effectLst/>
                          <a:sym typeface="Symbol" panose="05050102010706020507" pitchFamily="18" charset="2"/>
                        </a:rPr>
                        <a:t></a:t>
                      </a:r>
                      <a:r>
                        <a:rPr lang="fi-FI" sz="900">
                          <a:effectLst/>
                        </a:rPr>
                        <a:t> 12</a:t>
                      </a:r>
                      <a:endParaRPr lang="fi-FI" sz="9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 dirty="0">
                          <a:effectLst/>
                          <a:sym typeface="Symbol" panose="05050102010706020507" pitchFamily="18" charset="2"/>
                        </a:rPr>
                        <a:t></a:t>
                      </a:r>
                      <a:r>
                        <a:rPr lang="fi-FI" sz="900" dirty="0">
                          <a:effectLst/>
                        </a:rPr>
                        <a:t> 12</a:t>
                      </a:r>
                      <a:endParaRPr lang="fi-FI" sz="9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:a16="http://schemas.microsoft.com/office/drawing/2014/main" val="1167340933"/>
                  </a:ext>
                </a:extLst>
              </a:tr>
              <a:tr h="277837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 dirty="0">
                          <a:effectLst/>
                        </a:rPr>
                        <a:t>Leimahduspiste, COC</a:t>
                      </a:r>
                      <a:endParaRPr lang="fi-FI" sz="9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>
                          <a:effectLst/>
                        </a:rPr>
                        <a:t>°C</a:t>
                      </a:r>
                      <a:endParaRPr lang="fi-FI" sz="9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>
                          <a:effectLst/>
                        </a:rPr>
                        <a:t>SFS-EN ISO 2592</a:t>
                      </a:r>
                      <a:endParaRPr lang="fi-FI" sz="9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 dirty="0">
                          <a:effectLst/>
                        </a:rPr>
                        <a:t>≥ 240</a:t>
                      </a:r>
                      <a:endParaRPr lang="fi-FI" sz="9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>
                          <a:effectLst/>
                        </a:rPr>
                        <a:t>≥ 240</a:t>
                      </a:r>
                      <a:endParaRPr lang="fi-FI" sz="9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 dirty="0">
                          <a:effectLst/>
                        </a:rPr>
                        <a:t>≥ 230</a:t>
                      </a:r>
                      <a:endParaRPr lang="fi-FI" sz="9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>
                          <a:effectLst/>
                        </a:rPr>
                        <a:t>≥ 230</a:t>
                      </a:r>
                      <a:endParaRPr lang="fi-FI" sz="9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>
                          <a:effectLst/>
                        </a:rPr>
                        <a:t>≥ 230</a:t>
                      </a:r>
                      <a:endParaRPr lang="fi-FI" sz="9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 dirty="0">
                          <a:effectLst/>
                        </a:rPr>
                        <a:t>≥ 220</a:t>
                      </a:r>
                      <a:endParaRPr lang="fi-FI" sz="9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:a16="http://schemas.microsoft.com/office/drawing/2014/main" val="3234696846"/>
                  </a:ext>
                </a:extLst>
              </a:tr>
              <a:tr h="286685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 dirty="0">
                          <a:effectLst/>
                        </a:rPr>
                        <a:t>Liukoisuus tolueeniin</a:t>
                      </a:r>
                      <a:br>
                        <a:rPr lang="fi-FI" sz="900" dirty="0">
                          <a:effectLst/>
                        </a:rPr>
                      </a:br>
                      <a:endParaRPr lang="fi-FI" sz="9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>
                          <a:effectLst/>
                        </a:rPr>
                        <a:t>m-%</a:t>
                      </a:r>
                      <a:endParaRPr lang="fi-FI" sz="9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>
                          <a:effectLst/>
                        </a:rPr>
                        <a:t>SFS-EN 12592</a:t>
                      </a:r>
                      <a:endParaRPr lang="fi-FI" sz="9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 dirty="0">
                          <a:effectLst/>
                        </a:rPr>
                        <a:t>≥ 99,0</a:t>
                      </a:r>
                      <a:endParaRPr lang="fi-FI" sz="9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>
                          <a:effectLst/>
                        </a:rPr>
                        <a:t>≥ 99,0</a:t>
                      </a:r>
                      <a:endParaRPr lang="fi-FI" sz="9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 dirty="0">
                          <a:effectLst/>
                        </a:rPr>
                        <a:t>≥ 99,0</a:t>
                      </a:r>
                      <a:endParaRPr lang="fi-FI" sz="9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 dirty="0">
                          <a:effectLst/>
                        </a:rPr>
                        <a:t>≥ 99,0</a:t>
                      </a:r>
                      <a:endParaRPr lang="fi-FI" sz="9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 dirty="0">
                          <a:effectLst/>
                        </a:rPr>
                        <a:t>≥ 99,0</a:t>
                      </a:r>
                      <a:endParaRPr lang="fi-FI" sz="9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 dirty="0">
                          <a:effectLst/>
                        </a:rPr>
                        <a:t>≥ 99,0</a:t>
                      </a:r>
                      <a:endParaRPr lang="fi-FI" sz="9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:a16="http://schemas.microsoft.com/office/drawing/2014/main" val="3679724693"/>
                  </a:ext>
                </a:extLst>
              </a:tr>
            </a:tbl>
          </a:graphicData>
        </a:graphic>
      </p:graphicFrame>
      <p:grpSp>
        <p:nvGrpSpPr>
          <p:cNvPr id="14" name="Group 13">
            <a:extLst>
              <a:ext uri="{FF2B5EF4-FFF2-40B4-BE49-F238E27FC236}">
                <a16:creationId xmlns:a16="http://schemas.microsoft.com/office/drawing/2014/main" id="{B4F4A730-7F09-BF05-502B-66EB3D7DAD1E}"/>
              </a:ext>
            </a:extLst>
          </p:cNvPr>
          <p:cNvGrpSpPr/>
          <p:nvPr/>
        </p:nvGrpSpPr>
        <p:grpSpPr>
          <a:xfrm>
            <a:off x="432000" y="923111"/>
            <a:ext cx="502104" cy="2815512"/>
            <a:chOff x="432000" y="923111"/>
            <a:chExt cx="502104" cy="2815512"/>
          </a:xfrm>
        </p:grpSpPr>
        <p:sp>
          <p:nvSpPr>
            <p:cNvPr id="6" name="Arrow: Right 5">
              <a:extLst>
                <a:ext uri="{FF2B5EF4-FFF2-40B4-BE49-F238E27FC236}">
                  <a16:creationId xmlns:a16="http://schemas.microsoft.com/office/drawing/2014/main" id="{211F690E-C9A6-9D04-88FA-34C136329819}"/>
                </a:ext>
              </a:extLst>
            </p:cNvPr>
            <p:cNvSpPr/>
            <p:nvPr/>
          </p:nvSpPr>
          <p:spPr>
            <a:xfrm>
              <a:off x="434041" y="1265138"/>
              <a:ext cx="434242" cy="178594"/>
            </a:xfrm>
            <a:prstGeom prst="rightArrow">
              <a:avLst/>
            </a:prstGeom>
            <a:ln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/>
            <a:lstStyle/>
            <a:p>
              <a:pPr algn="ctr"/>
              <a:endParaRPr lang="fi-FI" sz="1200" dirty="0">
                <a:solidFill>
                  <a:schemeClr val="tx1"/>
                </a:solidFill>
              </a:endParaRPr>
            </a:p>
          </p:txBody>
        </p:sp>
        <p:sp>
          <p:nvSpPr>
            <p:cNvPr id="8" name="Arrow: Right 7">
              <a:extLst>
                <a:ext uri="{FF2B5EF4-FFF2-40B4-BE49-F238E27FC236}">
                  <a16:creationId xmlns:a16="http://schemas.microsoft.com/office/drawing/2014/main" id="{67E3B073-DAC9-8004-2F8F-70B1E1421D18}"/>
                </a:ext>
              </a:extLst>
            </p:cNvPr>
            <p:cNvSpPr/>
            <p:nvPr/>
          </p:nvSpPr>
          <p:spPr>
            <a:xfrm>
              <a:off x="434041" y="1569938"/>
              <a:ext cx="434242" cy="178594"/>
            </a:xfrm>
            <a:prstGeom prst="rightArrow">
              <a:avLst/>
            </a:prstGeom>
            <a:ln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/>
            <a:lstStyle/>
            <a:p>
              <a:pPr algn="ctr"/>
              <a:endParaRPr lang="fi-FI" sz="1200" dirty="0">
                <a:solidFill>
                  <a:schemeClr val="tx1"/>
                </a:solidFill>
              </a:endParaRPr>
            </a:p>
          </p:txBody>
        </p:sp>
        <p:sp>
          <p:nvSpPr>
            <p:cNvPr id="9" name="Arrow: Right 8">
              <a:extLst>
                <a:ext uri="{FF2B5EF4-FFF2-40B4-BE49-F238E27FC236}">
                  <a16:creationId xmlns:a16="http://schemas.microsoft.com/office/drawing/2014/main" id="{188B7CF9-1A5C-0A20-361E-8D77449D4E8B}"/>
                </a:ext>
              </a:extLst>
            </p:cNvPr>
            <p:cNvSpPr/>
            <p:nvPr/>
          </p:nvSpPr>
          <p:spPr>
            <a:xfrm>
              <a:off x="434041" y="1874738"/>
              <a:ext cx="434242" cy="178594"/>
            </a:xfrm>
            <a:prstGeom prst="rightArrow">
              <a:avLst/>
            </a:prstGeom>
            <a:ln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/>
            <a:lstStyle/>
            <a:p>
              <a:pPr algn="ctr"/>
              <a:endParaRPr lang="fi-FI" sz="1200" dirty="0">
                <a:solidFill>
                  <a:schemeClr val="tx1"/>
                </a:solidFill>
              </a:endParaRPr>
            </a:p>
          </p:txBody>
        </p:sp>
        <p:sp>
          <p:nvSpPr>
            <p:cNvPr id="10" name="Arrow: Right 9">
              <a:extLst>
                <a:ext uri="{FF2B5EF4-FFF2-40B4-BE49-F238E27FC236}">
                  <a16:creationId xmlns:a16="http://schemas.microsoft.com/office/drawing/2014/main" id="{C93744EE-1D6E-B336-D11B-3F487751CC45}"/>
                </a:ext>
              </a:extLst>
            </p:cNvPr>
            <p:cNvSpPr/>
            <p:nvPr/>
          </p:nvSpPr>
          <p:spPr>
            <a:xfrm>
              <a:off x="434041" y="2511167"/>
              <a:ext cx="434242" cy="178594"/>
            </a:xfrm>
            <a:prstGeom prst="rightArrow">
              <a:avLst/>
            </a:prstGeom>
            <a:ln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/>
            <a:lstStyle/>
            <a:p>
              <a:pPr algn="ctr"/>
              <a:endParaRPr lang="fi-FI" sz="1200" dirty="0">
                <a:solidFill>
                  <a:schemeClr val="tx1"/>
                </a:solidFill>
              </a:endParaRPr>
            </a:p>
          </p:txBody>
        </p:sp>
        <p:sp>
          <p:nvSpPr>
            <p:cNvPr id="11" name="Arrow: Right 10">
              <a:extLst>
                <a:ext uri="{FF2B5EF4-FFF2-40B4-BE49-F238E27FC236}">
                  <a16:creationId xmlns:a16="http://schemas.microsoft.com/office/drawing/2014/main" id="{896A9671-8662-1DBB-6627-9E745E9B5E70}"/>
                </a:ext>
              </a:extLst>
            </p:cNvPr>
            <p:cNvSpPr/>
            <p:nvPr/>
          </p:nvSpPr>
          <p:spPr>
            <a:xfrm>
              <a:off x="432000" y="3232647"/>
              <a:ext cx="434242" cy="178594"/>
            </a:xfrm>
            <a:prstGeom prst="rightArrow">
              <a:avLst/>
            </a:prstGeom>
            <a:ln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/>
            <a:lstStyle/>
            <a:p>
              <a:pPr algn="ctr"/>
              <a:endParaRPr lang="fi-FI" sz="1200" dirty="0">
                <a:solidFill>
                  <a:schemeClr val="tx1"/>
                </a:solidFill>
              </a:endParaRPr>
            </a:p>
          </p:txBody>
        </p:sp>
        <p:sp>
          <p:nvSpPr>
            <p:cNvPr id="12" name="Arrow: Right 11">
              <a:extLst>
                <a:ext uri="{FF2B5EF4-FFF2-40B4-BE49-F238E27FC236}">
                  <a16:creationId xmlns:a16="http://schemas.microsoft.com/office/drawing/2014/main" id="{D75DEA95-3D00-7997-2AE2-C27A5B141A2E}"/>
                </a:ext>
              </a:extLst>
            </p:cNvPr>
            <p:cNvSpPr/>
            <p:nvPr/>
          </p:nvSpPr>
          <p:spPr>
            <a:xfrm>
              <a:off x="432000" y="3560029"/>
              <a:ext cx="434242" cy="178594"/>
            </a:xfrm>
            <a:prstGeom prst="rightArrow">
              <a:avLst/>
            </a:prstGeom>
            <a:ln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/>
            <a:lstStyle/>
            <a:p>
              <a:pPr algn="ctr"/>
              <a:endParaRPr lang="fi-FI" sz="1200" dirty="0">
                <a:solidFill>
                  <a:schemeClr val="tx1"/>
                </a:solidFill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FCAA2F56-DB48-B6E8-5FF9-8EF186466A7E}"/>
                </a:ext>
              </a:extLst>
            </p:cNvPr>
            <p:cNvSpPr txBox="1"/>
            <p:nvPr/>
          </p:nvSpPr>
          <p:spPr>
            <a:xfrm>
              <a:off x="432000" y="965101"/>
              <a:ext cx="502104" cy="236612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noAutofit/>
            </a:bodyPr>
            <a:lstStyle/>
            <a:p>
              <a:endParaRPr lang="fi-FI" sz="1200" dirty="0" err="1">
                <a:solidFill>
                  <a:srgbClr val="3C3C3C"/>
                </a:solidFill>
              </a:endParaRPr>
            </a:p>
          </p:txBody>
        </p: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11CC960A-167D-605D-2575-96A7717F00C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432000" y="923111"/>
              <a:ext cx="435752" cy="27384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44829546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999BD4-C41E-0ECF-251E-96001CC734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/>
              <a:t>Pehmeiden tiebitumien laatuvaatimukset Asfalttinormeissa </a:t>
            </a:r>
            <a:br>
              <a:rPr lang="fi-FI" dirty="0"/>
            </a:br>
            <a:r>
              <a:rPr lang="fi-FI" sz="1400" dirty="0"/>
              <a:t>(SFS-EN 12591)</a:t>
            </a:r>
            <a:endParaRPr lang="fi-FI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DFB627C-9FAE-94FF-32B9-CF5662A024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A49F53B-68F7-402D-8883-CC8AD69B34F2}" type="slidenum">
              <a:rPr lang="en-GB" smtClean="0"/>
              <a:pPr/>
              <a:t>12</a:t>
            </a:fld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2DDD822-D1AC-0B88-2FCF-1386A241C85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GB"/>
              <a:t>15 March, 2023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17DD19-3100-FA69-C6C5-CC9B17D18C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2023 Nynas. All rights reserved.</a:t>
            </a:r>
            <a:endParaRPr lang="sv-SE" dirty="0"/>
          </a:p>
        </p:txBody>
      </p:sp>
      <p:graphicFrame>
        <p:nvGraphicFramePr>
          <p:cNvPr id="7" name="Content Placeholder 1">
            <a:extLst>
              <a:ext uri="{FF2B5EF4-FFF2-40B4-BE49-F238E27FC236}">
                <a16:creationId xmlns:a16="http://schemas.microsoft.com/office/drawing/2014/main" id="{F2A26B2A-A375-9156-A406-22F3677FBDFF}"/>
              </a:ext>
            </a:extLst>
          </p:cNvPr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1557728328"/>
              </p:ext>
            </p:extLst>
          </p:nvPr>
        </p:nvGraphicFramePr>
        <p:xfrm>
          <a:off x="1030034" y="1479418"/>
          <a:ext cx="6762070" cy="2708530"/>
        </p:xfrm>
        <a:graphic>
          <a:graphicData uri="http://schemas.openxmlformats.org/drawingml/2006/table">
            <a:tbl>
              <a:tblPr firstRow="1" firstCol="1" lastRow="1" lastCol="1" bandRow="1" bandCol="1">
                <a:tableStyleId>{5940675A-B579-460E-94D1-54222C63F5DA}</a:tableStyleId>
              </a:tblPr>
              <a:tblGrid>
                <a:gridCol w="1882888">
                  <a:extLst>
                    <a:ext uri="{9D8B030D-6E8A-4147-A177-3AD203B41FA5}">
                      <a16:colId xmlns:a16="http://schemas.microsoft.com/office/drawing/2014/main" val="786723196"/>
                    </a:ext>
                  </a:extLst>
                </a:gridCol>
                <a:gridCol w="548138">
                  <a:extLst>
                    <a:ext uri="{9D8B030D-6E8A-4147-A177-3AD203B41FA5}">
                      <a16:colId xmlns:a16="http://schemas.microsoft.com/office/drawing/2014/main" val="199605358"/>
                    </a:ext>
                  </a:extLst>
                </a:gridCol>
                <a:gridCol w="1406895">
                  <a:extLst>
                    <a:ext uri="{9D8B030D-6E8A-4147-A177-3AD203B41FA5}">
                      <a16:colId xmlns:a16="http://schemas.microsoft.com/office/drawing/2014/main" val="3496878272"/>
                    </a:ext>
                  </a:extLst>
                </a:gridCol>
                <a:gridCol w="722644">
                  <a:extLst>
                    <a:ext uri="{9D8B030D-6E8A-4147-A177-3AD203B41FA5}">
                      <a16:colId xmlns:a16="http://schemas.microsoft.com/office/drawing/2014/main" val="1712597414"/>
                    </a:ext>
                  </a:extLst>
                </a:gridCol>
                <a:gridCol w="664897">
                  <a:extLst>
                    <a:ext uri="{9D8B030D-6E8A-4147-A177-3AD203B41FA5}">
                      <a16:colId xmlns:a16="http://schemas.microsoft.com/office/drawing/2014/main" val="1265331503"/>
                    </a:ext>
                  </a:extLst>
                </a:gridCol>
                <a:gridCol w="768304">
                  <a:extLst>
                    <a:ext uri="{9D8B030D-6E8A-4147-A177-3AD203B41FA5}">
                      <a16:colId xmlns:a16="http://schemas.microsoft.com/office/drawing/2014/main" val="3544389038"/>
                    </a:ext>
                  </a:extLst>
                </a:gridCol>
                <a:gridCol w="768304">
                  <a:extLst>
                    <a:ext uri="{9D8B030D-6E8A-4147-A177-3AD203B41FA5}">
                      <a16:colId xmlns:a16="http://schemas.microsoft.com/office/drawing/2014/main" val="1330068209"/>
                    </a:ext>
                  </a:extLst>
                </a:gridCol>
              </a:tblGrid>
              <a:tr h="189068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 dirty="0">
                          <a:effectLst/>
                        </a:rPr>
                        <a:t>Bitumiluokka</a:t>
                      </a:r>
                      <a:endParaRPr lang="fi-FI" sz="9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>
                          <a:effectLst/>
                        </a:rPr>
                        <a:t> </a:t>
                      </a:r>
                      <a:endParaRPr lang="fi-FI" sz="9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 dirty="0">
                          <a:effectLst/>
                        </a:rPr>
                        <a:t>Menetelmä</a:t>
                      </a:r>
                      <a:endParaRPr lang="fi-FI" sz="9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  <a:tabLst>
                          <a:tab pos="1257300" algn="l"/>
                        </a:tabLst>
                      </a:pPr>
                      <a:r>
                        <a:rPr lang="fi-FI" sz="900" dirty="0">
                          <a:effectLst/>
                          <a:latin typeface="+mn-lt"/>
                        </a:rPr>
                        <a:t>250/330</a:t>
                      </a:r>
                      <a:endParaRPr lang="fi-FI" sz="900" dirty="0">
                        <a:effectLst/>
                        <a:latin typeface="+mn-lt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  <a:tabLst>
                          <a:tab pos="1257300" algn="l"/>
                        </a:tabLst>
                      </a:pPr>
                      <a:r>
                        <a:rPr lang="fi-FI" sz="900" dirty="0">
                          <a:effectLst/>
                          <a:latin typeface="+mn-lt"/>
                        </a:rPr>
                        <a:t>330/430</a:t>
                      </a:r>
                      <a:endParaRPr lang="fi-FI" sz="900" dirty="0">
                        <a:effectLst/>
                        <a:latin typeface="+mn-lt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  <a:tabLst>
                          <a:tab pos="1257300" algn="l"/>
                        </a:tabLst>
                      </a:pPr>
                      <a:r>
                        <a:rPr lang="fi-FI" sz="900" dirty="0">
                          <a:effectLst/>
                          <a:latin typeface="+mn-lt"/>
                        </a:rPr>
                        <a:t>500/650</a:t>
                      </a:r>
                      <a:endParaRPr lang="fi-FI" sz="900" dirty="0">
                        <a:effectLst/>
                        <a:latin typeface="+mn-lt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  <a:tabLst>
                          <a:tab pos="1257300" algn="l"/>
                        </a:tabLst>
                      </a:pPr>
                      <a:r>
                        <a:rPr lang="fi-FI" sz="900" dirty="0">
                          <a:effectLst/>
                          <a:latin typeface="+mn-lt"/>
                        </a:rPr>
                        <a:t>650/900</a:t>
                      </a:r>
                      <a:endParaRPr lang="fi-FI" sz="900" dirty="0">
                        <a:effectLst/>
                        <a:latin typeface="+mn-lt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:a16="http://schemas.microsoft.com/office/drawing/2014/main" val="544057453"/>
                  </a:ext>
                </a:extLst>
              </a:tr>
              <a:tr h="261556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 dirty="0" err="1">
                          <a:effectLst/>
                        </a:rPr>
                        <a:t>Tunkeuma</a:t>
                      </a:r>
                      <a:r>
                        <a:rPr lang="fi-FI" sz="900" dirty="0">
                          <a:effectLst/>
                        </a:rPr>
                        <a:t>, 15 °C </a:t>
                      </a:r>
                      <a:endParaRPr lang="fi-FI" sz="9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>
                          <a:effectLst/>
                        </a:rPr>
                        <a:t>0,1 mm</a:t>
                      </a:r>
                      <a:endParaRPr lang="fi-FI" sz="9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 dirty="0">
                          <a:effectLst/>
                        </a:rPr>
                        <a:t>SFS-EN 1426</a:t>
                      </a:r>
                      <a:endParaRPr lang="fi-FI" sz="9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 dirty="0">
                          <a:effectLst/>
                          <a:latin typeface="+mn-lt"/>
                          <a:ea typeface="SimSun" panose="02010600030101010101" pitchFamily="2" charset="-122"/>
                        </a:rPr>
                        <a:t>70-130</a:t>
                      </a: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 dirty="0">
                          <a:effectLst/>
                          <a:latin typeface="+mn-lt"/>
                          <a:ea typeface="SimSun" panose="02010600030101010101" pitchFamily="2" charset="-122"/>
                        </a:rPr>
                        <a:t>90-170</a:t>
                      </a: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 dirty="0">
                          <a:effectLst/>
                          <a:latin typeface="+mn-lt"/>
                          <a:ea typeface="SimSun" panose="02010600030101010101" pitchFamily="2" charset="-122"/>
                        </a:rPr>
                        <a:t>140-260</a:t>
                      </a: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 dirty="0">
                          <a:effectLst/>
                          <a:latin typeface="+mn-lt"/>
                        </a:rPr>
                        <a:t>180-360</a:t>
                      </a:r>
                      <a:endParaRPr lang="fi-FI" sz="900" dirty="0">
                        <a:effectLst/>
                        <a:latin typeface="+mn-lt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:a16="http://schemas.microsoft.com/office/drawing/2014/main" val="2132889223"/>
                  </a:ext>
                </a:extLst>
              </a:tr>
              <a:tr h="350324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  <a:tabLst>
                          <a:tab pos="1257300" algn="l"/>
                        </a:tabLst>
                      </a:pPr>
                      <a:r>
                        <a:rPr lang="fi-FI" sz="900" dirty="0">
                          <a:effectLst/>
                        </a:rPr>
                        <a:t>Dynaaminen viskositeetti, 60 °C </a:t>
                      </a:r>
                      <a:endParaRPr lang="fi-FI" sz="9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  <a:tabLst>
                          <a:tab pos="1257300" algn="l"/>
                        </a:tabLst>
                      </a:pPr>
                      <a:r>
                        <a:rPr lang="fi-FI" sz="900">
                          <a:effectLst/>
                        </a:rPr>
                        <a:t>Pas</a:t>
                      </a:r>
                      <a:endParaRPr lang="fi-FI" sz="9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  <a:tabLst>
                          <a:tab pos="1257300" algn="l"/>
                        </a:tabLst>
                      </a:pPr>
                      <a:r>
                        <a:rPr lang="fi-FI" sz="900" dirty="0">
                          <a:effectLst/>
                        </a:rPr>
                        <a:t>SFS-EN 12596</a:t>
                      </a:r>
                      <a:endParaRPr lang="fi-FI" sz="9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>
                          <a:tab pos="1257300" algn="l"/>
                        </a:tabLst>
                        <a:defRPr/>
                      </a:pPr>
                      <a:r>
                        <a:rPr lang="fi-FI" sz="900" dirty="0">
                          <a:effectLst/>
                          <a:latin typeface="+mn-lt"/>
                        </a:rPr>
                        <a:t>≥ 18</a:t>
                      </a:r>
                      <a:endParaRPr lang="fi-FI" sz="900" dirty="0">
                        <a:effectLst/>
                        <a:latin typeface="+mn-lt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>
                          <a:tab pos="1257300" algn="l"/>
                        </a:tabLst>
                        <a:defRPr/>
                      </a:pPr>
                      <a:r>
                        <a:rPr lang="fi-FI" sz="900" dirty="0">
                          <a:effectLst/>
                          <a:latin typeface="+mn-lt"/>
                        </a:rPr>
                        <a:t>≥ 12</a:t>
                      </a:r>
                      <a:endParaRPr lang="fi-FI" sz="900" dirty="0">
                        <a:effectLst/>
                        <a:latin typeface="+mn-lt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>
                          <a:tab pos="1257300" algn="l"/>
                        </a:tabLst>
                        <a:defRPr/>
                      </a:pPr>
                      <a:r>
                        <a:rPr lang="fi-FI" sz="900" dirty="0">
                          <a:effectLst/>
                          <a:latin typeface="+mn-lt"/>
                        </a:rPr>
                        <a:t>≥ 7,0</a:t>
                      </a:r>
                      <a:endParaRPr lang="fi-FI" sz="900" dirty="0">
                        <a:effectLst/>
                        <a:latin typeface="+mn-lt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>
                          <a:tab pos="1257300" algn="l"/>
                        </a:tabLst>
                        <a:defRPr/>
                      </a:pPr>
                      <a:r>
                        <a:rPr lang="fi-FI" sz="900" dirty="0">
                          <a:effectLst/>
                          <a:latin typeface="+mn-lt"/>
                        </a:rPr>
                        <a:t>≥ 4,5</a:t>
                      </a:r>
                      <a:endParaRPr lang="fi-FI" sz="900" dirty="0">
                        <a:effectLst/>
                        <a:latin typeface="+mn-lt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:a16="http://schemas.microsoft.com/office/drawing/2014/main" val="1415806489"/>
                  </a:ext>
                </a:extLst>
              </a:tr>
              <a:tr h="349128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 dirty="0">
                          <a:effectLst/>
                        </a:rPr>
                        <a:t>Kinemaattinen viskositeetti, 135 °C </a:t>
                      </a:r>
                      <a:endParaRPr lang="fi-FI" sz="9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>
                          <a:effectLst/>
                        </a:rPr>
                        <a:t>mm</a:t>
                      </a:r>
                      <a:r>
                        <a:rPr lang="fi-FI" sz="900" baseline="30000">
                          <a:effectLst/>
                        </a:rPr>
                        <a:t>2</a:t>
                      </a:r>
                      <a:r>
                        <a:rPr lang="fi-FI" sz="900">
                          <a:effectLst/>
                        </a:rPr>
                        <a:t>/s</a:t>
                      </a:r>
                      <a:endParaRPr lang="fi-FI" sz="9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>
                          <a:effectLst/>
                        </a:rPr>
                        <a:t>SFS-EN 12595</a:t>
                      </a:r>
                      <a:endParaRPr lang="fi-FI" sz="9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i-FI" sz="900" dirty="0">
                          <a:effectLst/>
                          <a:latin typeface="+mn-lt"/>
                        </a:rPr>
                        <a:t>≥ 100</a:t>
                      </a:r>
                      <a:endParaRPr lang="fi-FI" sz="900" dirty="0">
                        <a:effectLst/>
                        <a:latin typeface="+mn-lt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i-FI" sz="900" dirty="0">
                          <a:effectLst/>
                          <a:latin typeface="+mn-lt"/>
                        </a:rPr>
                        <a:t>≥ 85</a:t>
                      </a:r>
                      <a:endParaRPr lang="fi-FI" sz="900" dirty="0">
                        <a:effectLst/>
                        <a:latin typeface="+mn-lt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i-FI" sz="900" dirty="0">
                          <a:effectLst/>
                          <a:latin typeface="+mn-lt"/>
                        </a:rPr>
                        <a:t>≥ 65</a:t>
                      </a:r>
                      <a:endParaRPr lang="fi-FI" sz="900" dirty="0">
                        <a:effectLst/>
                        <a:latin typeface="+mn-lt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i-FI" sz="900" dirty="0">
                          <a:effectLst/>
                          <a:latin typeface="+mn-lt"/>
                        </a:rPr>
                        <a:t>≥ 50</a:t>
                      </a:r>
                      <a:endParaRPr lang="fi-FI" sz="900" dirty="0">
                        <a:effectLst/>
                        <a:latin typeface="+mn-lt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:a16="http://schemas.microsoft.com/office/drawing/2014/main" val="360309849"/>
                  </a:ext>
                </a:extLst>
              </a:tr>
              <a:tr h="240776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 dirty="0">
                          <a:effectLst/>
                        </a:rPr>
                        <a:t>Murtumispiste, </a:t>
                      </a:r>
                      <a:r>
                        <a:rPr lang="fi-FI" sz="900" dirty="0" err="1">
                          <a:effectLst/>
                        </a:rPr>
                        <a:t>Fraass</a:t>
                      </a:r>
                      <a:endParaRPr lang="fi-FI" sz="9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>
                          <a:effectLst/>
                        </a:rPr>
                        <a:t>°C</a:t>
                      </a:r>
                      <a:endParaRPr lang="fi-FI" sz="9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>
                          <a:effectLst/>
                        </a:rPr>
                        <a:t>SFS-EN 12593</a:t>
                      </a:r>
                      <a:endParaRPr lang="fi-FI" sz="9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i-FI" sz="900" dirty="0">
                          <a:effectLst/>
                          <a:latin typeface="+mn-lt"/>
                          <a:ea typeface="SimSun" panose="02010600030101010101" pitchFamily="2" charset="-122"/>
                        </a:rPr>
                        <a:t>≤ -16</a:t>
                      </a: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i-FI" sz="900" dirty="0">
                          <a:effectLst/>
                          <a:latin typeface="+mn-lt"/>
                          <a:ea typeface="SimSun" panose="02010600030101010101" pitchFamily="2" charset="-122"/>
                        </a:rPr>
                        <a:t>≤ -18</a:t>
                      </a: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i-FI" sz="900" dirty="0">
                          <a:effectLst/>
                          <a:latin typeface="+mn-lt"/>
                          <a:ea typeface="SimSun" panose="02010600030101010101" pitchFamily="2" charset="-122"/>
                        </a:rPr>
                        <a:t>≤ -20</a:t>
                      </a: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i-FI" sz="900" dirty="0">
                          <a:effectLst/>
                          <a:latin typeface="+mn-lt"/>
                          <a:ea typeface="SimSun" panose="02010600030101010101" pitchFamily="2" charset="-122"/>
                        </a:rPr>
                        <a:t>≤ -20</a:t>
                      </a: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:a16="http://schemas.microsoft.com/office/drawing/2014/main" val="3407363396"/>
                  </a:ext>
                </a:extLst>
              </a:tr>
              <a:tr h="242954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 dirty="0">
                          <a:effectLst/>
                        </a:rPr>
                        <a:t>Ohutkalvokoe RTFOT 163 °C </a:t>
                      </a:r>
                      <a:endParaRPr lang="fi-FI" sz="9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 dirty="0">
                          <a:effectLst/>
                        </a:rPr>
                        <a:t> </a:t>
                      </a:r>
                      <a:endParaRPr lang="fi-FI" sz="9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>
                          <a:effectLst/>
                        </a:rPr>
                        <a:t>SFS-EN 12607-1</a:t>
                      </a:r>
                      <a:endParaRPr lang="fi-FI" sz="9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fi-FI" sz="900">
                        <a:effectLst/>
                        <a:latin typeface="+mn-lt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fi-FI" sz="900" dirty="0">
                        <a:effectLst/>
                        <a:latin typeface="+mn-lt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fi-FI" sz="900" dirty="0">
                        <a:effectLst/>
                        <a:latin typeface="+mn-lt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fi-FI" sz="900">
                        <a:effectLst/>
                        <a:latin typeface="+mn-lt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:a16="http://schemas.microsoft.com/office/drawing/2014/main" val="3723095468"/>
                  </a:ext>
                </a:extLst>
              </a:tr>
              <a:tr h="242954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 dirty="0">
                          <a:effectLst/>
                        </a:rPr>
                        <a:t> - massan muutos </a:t>
                      </a:r>
                      <a:endParaRPr lang="fi-FI" sz="9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>
                          <a:effectLst/>
                        </a:rPr>
                        <a:t>± m-%</a:t>
                      </a:r>
                      <a:endParaRPr lang="fi-FI" sz="9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>
                          <a:effectLst/>
                        </a:rPr>
                        <a:t> </a:t>
                      </a:r>
                      <a:endParaRPr lang="fi-FI" sz="9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i-FI" sz="900" dirty="0">
                          <a:effectLst/>
                          <a:latin typeface="+mn-lt"/>
                          <a:ea typeface="SimSun" panose="02010600030101010101" pitchFamily="2" charset="-122"/>
                        </a:rPr>
                        <a:t>≤ 1,0</a:t>
                      </a: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i-FI" sz="900" dirty="0">
                          <a:effectLst/>
                          <a:latin typeface="+mn-lt"/>
                          <a:ea typeface="SimSun" panose="02010600030101010101" pitchFamily="2" charset="-122"/>
                        </a:rPr>
                        <a:t>≤ 1,0</a:t>
                      </a: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i-FI" sz="900" dirty="0">
                          <a:effectLst/>
                          <a:latin typeface="+mn-lt"/>
                          <a:ea typeface="SimSun" panose="02010600030101010101" pitchFamily="2" charset="-122"/>
                        </a:rPr>
                        <a:t>≤ 1,5</a:t>
                      </a: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i-FI" sz="900" dirty="0">
                          <a:effectLst/>
                          <a:latin typeface="+mn-lt"/>
                          <a:ea typeface="SimSun" panose="02010600030101010101" pitchFamily="2" charset="-122"/>
                        </a:rPr>
                        <a:t>≤ 1,5</a:t>
                      </a: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:a16="http://schemas.microsoft.com/office/drawing/2014/main" val="3605799450"/>
                  </a:ext>
                </a:extLst>
              </a:tr>
              <a:tr h="267248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 dirty="0">
                          <a:effectLst/>
                        </a:rPr>
                        <a:t> - Viskositeettisuhde 60 °C </a:t>
                      </a:r>
                      <a:endParaRPr lang="fi-FI" sz="9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fi-FI" sz="9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>
                          <a:effectLst/>
                        </a:rPr>
                        <a:t> </a:t>
                      </a:r>
                      <a:endParaRPr lang="fi-FI" sz="9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 dirty="0">
                          <a:effectLst/>
                          <a:latin typeface="+mn-lt"/>
                          <a:ea typeface="SimSun" panose="02010600030101010101" pitchFamily="2" charset="-122"/>
                        </a:rPr>
                        <a:t>≤ 4,0</a:t>
                      </a: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i-FI" sz="900" dirty="0">
                          <a:effectLst/>
                          <a:latin typeface="+mn-lt"/>
                          <a:ea typeface="SimSun" panose="02010600030101010101" pitchFamily="2" charset="-122"/>
                        </a:rPr>
                        <a:t>≤ 4,0</a:t>
                      </a: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i-FI" sz="900" dirty="0">
                          <a:effectLst/>
                          <a:latin typeface="+mn-lt"/>
                          <a:ea typeface="SimSun" panose="02010600030101010101" pitchFamily="2" charset="-122"/>
                        </a:rPr>
                        <a:t>≤ 4,0</a:t>
                      </a: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i-FI" sz="900" dirty="0">
                          <a:effectLst/>
                          <a:latin typeface="+mn-lt"/>
                          <a:ea typeface="SimSun" panose="02010600030101010101" pitchFamily="2" charset="-122"/>
                        </a:rPr>
                        <a:t>≤ 4,0</a:t>
                      </a: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:a16="http://schemas.microsoft.com/office/drawing/2014/main" val="1569137316"/>
                  </a:ext>
                </a:extLst>
              </a:tr>
              <a:tr h="277837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 dirty="0">
                          <a:effectLst/>
                        </a:rPr>
                        <a:t>Leimahduspiste, </a:t>
                      </a:r>
                      <a:r>
                        <a:rPr lang="fi-FI" sz="900" dirty="0" err="1">
                          <a:effectLst/>
                        </a:rPr>
                        <a:t>PMcc</a:t>
                      </a:r>
                      <a:endParaRPr lang="fi-FI" sz="9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>
                          <a:effectLst/>
                        </a:rPr>
                        <a:t>°C</a:t>
                      </a:r>
                      <a:endParaRPr lang="fi-FI" sz="9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 dirty="0">
                          <a:effectLst/>
                        </a:rPr>
                        <a:t>SFS-EN ISO 2719</a:t>
                      </a:r>
                      <a:endParaRPr lang="fi-FI" sz="9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 dirty="0">
                          <a:effectLst/>
                          <a:latin typeface="+mn-lt"/>
                        </a:rPr>
                        <a:t>≥ 180</a:t>
                      </a:r>
                      <a:endParaRPr lang="fi-FI" sz="900" dirty="0">
                        <a:effectLst/>
                        <a:latin typeface="+mn-lt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i-FI" sz="900" dirty="0">
                          <a:effectLst/>
                          <a:latin typeface="+mn-lt"/>
                        </a:rPr>
                        <a:t>≥ 180</a:t>
                      </a:r>
                      <a:endParaRPr lang="fi-FI" sz="900" dirty="0">
                        <a:effectLst/>
                        <a:latin typeface="+mn-lt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i-FI" sz="900" dirty="0">
                          <a:effectLst/>
                          <a:latin typeface="+mn-lt"/>
                        </a:rPr>
                        <a:t>≥ 180</a:t>
                      </a:r>
                      <a:endParaRPr lang="fi-FI" sz="900" dirty="0">
                        <a:effectLst/>
                        <a:latin typeface="+mn-lt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i-FI" sz="900" dirty="0">
                          <a:effectLst/>
                          <a:latin typeface="+mn-lt"/>
                        </a:rPr>
                        <a:t>≥ 180</a:t>
                      </a:r>
                      <a:endParaRPr lang="fi-FI" sz="900" dirty="0">
                        <a:effectLst/>
                        <a:latin typeface="+mn-lt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:a16="http://schemas.microsoft.com/office/drawing/2014/main" val="3234696846"/>
                  </a:ext>
                </a:extLst>
              </a:tr>
              <a:tr h="286685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 dirty="0">
                          <a:effectLst/>
                        </a:rPr>
                        <a:t>Liukoisuus tolueeniin</a:t>
                      </a:r>
                      <a:br>
                        <a:rPr lang="fi-FI" sz="900" dirty="0">
                          <a:effectLst/>
                        </a:rPr>
                      </a:br>
                      <a:endParaRPr lang="fi-FI" sz="9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>
                          <a:effectLst/>
                        </a:rPr>
                        <a:t>m-%</a:t>
                      </a:r>
                      <a:endParaRPr lang="fi-FI" sz="9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 dirty="0">
                          <a:effectLst/>
                        </a:rPr>
                        <a:t>SFS-EN 12592</a:t>
                      </a:r>
                      <a:endParaRPr lang="fi-FI" sz="9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 dirty="0">
                          <a:effectLst/>
                          <a:latin typeface="+mn-lt"/>
                        </a:rPr>
                        <a:t>≥ 99,0</a:t>
                      </a:r>
                      <a:endParaRPr lang="fi-FI" sz="900" dirty="0">
                        <a:effectLst/>
                        <a:latin typeface="+mn-lt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>
                          <a:effectLst/>
                          <a:latin typeface="+mn-lt"/>
                        </a:rPr>
                        <a:t>≥ 99,0</a:t>
                      </a:r>
                      <a:endParaRPr lang="fi-FI" sz="900">
                        <a:effectLst/>
                        <a:latin typeface="+mn-lt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 dirty="0">
                          <a:effectLst/>
                          <a:latin typeface="+mn-lt"/>
                        </a:rPr>
                        <a:t>≥ 99,0</a:t>
                      </a:r>
                      <a:endParaRPr lang="fi-FI" sz="900" dirty="0">
                        <a:effectLst/>
                        <a:latin typeface="+mn-lt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 dirty="0">
                          <a:effectLst/>
                          <a:latin typeface="+mn-lt"/>
                        </a:rPr>
                        <a:t>≥ 99,0</a:t>
                      </a:r>
                      <a:endParaRPr lang="fi-FI" sz="900" dirty="0">
                        <a:effectLst/>
                        <a:latin typeface="+mn-lt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:a16="http://schemas.microsoft.com/office/drawing/2014/main" val="3679724693"/>
                  </a:ext>
                </a:extLst>
              </a:tr>
            </a:tbl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FCAA2F56-DB48-B6E8-5FF9-8EF186466A7E}"/>
              </a:ext>
            </a:extLst>
          </p:cNvPr>
          <p:cNvSpPr txBox="1"/>
          <p:nvPr/>
        </p:nvSpPr>
        <p:spPr>
          <a:xfrm>
            <a:off x="55109" y="900113"/>
            <a:ext cx="502104" cy="236612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endParaRPr lang="fi-FI" sz="1200" dirty="0" err="1">
              <a:solidFill>
                <a:srgbClr val="3C3C3C"/>
              </a:solidFill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AACEA888-1EA1-2DA1-005D-CE4BDAA551D4}"/>
              </a:ext>
            </a:extLst>
          </p:cNvPr>
          <p:cNvGrpSpPr/>
          <p:nvPr/>
        </p:nvGrpSpPr>
        <p:grpSpPr>
          <a:xfrm>
            <a:off x="430490" y="1224412"/>
            <a:ext cx="446978" cy="2336304"/>
            <a:chOff x="430490" y="1224412"/>
            <a:chExt cx="446978" cy="2336304"/>
          </a:xfrm>
        </p:grpSpPr>
        <p:sp>
          <p:nvSpPr>
            <p:cNvPr id="6" name="Arrow: Right 5">
              <a:extLst>
                <a:ext uri="{FF2B5EF4-FFF2-40B4-BE49-F238E27FC236}">
                  <a16:creationId xmlns:a16="http://schemas.microsoft.com/office/drawing/2014/main" id="{211F690E-C9A6-9D04-88FA-34C136329819}"/>
                </a:ext>
              </a:extLst>
            </p:cNvPr>
            <p:cNvSpPr/>
            <p:nvPr/>
          </p:nvSpPr>
          <p:spPr>
            <a:xfrm>
              <a:off x="443226" y="1674138"/>
              <a:ext cx="434242" cy="178594"/>
            </a:xfrm>
            <a:prstGeom prst="rightArrow">
              <a:avLst/>
            </a:prstGeom>
            <a:ln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/>
            <a:lstStyle/>
            <a:p>
              <a:pPr algn="ctr"/>
              <a:endParaRPr lang="fi-FI" sz="1200" dirty="0">
                <a:solidFill>
                  <a:schemeClr val="tx1"/>
                </a:solidFill>
              </a:endParaRPr>
            </a:p>
          </p:txBody>
        </p:sp>
        <p:sp>
          <p:nvSpPr>
            <p:cNvPr id="8" name="Arrow: Right 7">
              <a:extLst>
                <a:ext uri="{FF2B5EF4-FFF2-40B4-BE49-F238E27FC236}">
                  <a16:creationId xmlns:a16="http://schemas.microsoft.com/office/drawing/2014/main" id="{67E3B073-DAC9-8004-2F8F-70B1E1421D18}"/>
                </a:ext>
              </a:extLst>
            </p:cNvPr>
            <p:cNvSpPr/>
            <p:nvPr/>
          </p:nvSpPr>
          <p:spPr>
            <a:xfrm>
              <a:off x="443226" y="2005336"/>
              <a:ext cx="434242" cy="178594"/>
            </a:xfrm>
            <a:prstGeom prst="rightArrow">
              <a:avLst/>
            </a:prstGeom>
            <a:ln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/>
            <a:lstStyle/>
            <a:p>
              <a:pPr algn="ctr"/>
              <a:endParaRPr lang="fi-FI" sz="1200" dirty="0">
                <a:solidFill>
                  <a:schemeClr val="tx1"/>
                </a:solidFill>
              </a:endParaRPr>
            </a:p>
          </p:txBody>
        </p:sp>
        <p:sp>
          <p:nvSpPr>
            <p:cNvPr id="10" name="Arrow: Right 9">
              <a:extLst>
                <a:ext uri="{FF2B5EF4-FFF2-40B4-BE49-F238E27FC236}">
                  <a16:creationId xmlns:a16="http://schemas.microsoft.com/office/drawing/2014/main" id="{C93744EE-1D6E-B336-D11B-3F487751CC45}"/>
                </a:ext>
              </a:extLst>
            </p:cNvPr>
            <p:cNvSpPr/>
            <p:nvPr/>
          </p:nvSpPr>
          <p:spPr>
            <a:xfrm>
              <a:off x="432000" y="3382122"/>
              <a:ext cx="434242" cy="178594"/>
            </a:xfrm>
            <a:prstGeom prst="rightArrow">
              <a:avLst/>
            </a:prstGeom>
            <a:ln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/>
            <a:lstStyle/>
            <a:p>
              <a:pPr algn="ctr"/>
              <a:endParaRPr lang="fi-FI" sz="1200" dirty="0">
                <a:solidFill>
                  <a:schemeClr val="tx1"/>
                </a:solidFill>
              </a:endParaRPr>
            </a:p>
          </p:txBody>
        </p: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11CC960A-167D-605D-2575-96A7717F00C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430490" y="1224412"/>
              <a:ext cx="435752" cy="273844"/>
            </a:xfrm>
            <a:prstGeom prst="rect">
              <a:avLst/>
            </a:prstGeom>
          </p:spPr>
        </p:pic>
        <p:sp>
          <p:nvSpPr>
            <p:cNvPr id="14" name="Arrow: Right 13">
              <a:extLst>
                <a:ext uri="{FF2B5EF4-FFF2-40B4-BE49-F238E27FC236}">
                  <a16:creationId xmlns:a16="http://schemas.microsoft.com/office/drawing/2014/main" id="{8C27CBB1-54D5-117A-3088-2FCF8C894141}"/>
                </a:ext>
              </a:extLst>
            </p:cNvPr>
            <p:cNvSpPr/>
            <p:nvPr/>
          </p:nvSpPr>
          <p:spPr>
            <a:xfrm>
              <a:off x="443226" y="2679194"/>
              <a:ext cx="434242" cy="178594"/>
            </a:xfrm>
            <a:prstGeom prst="rightArrow">
              <a:avLst/>
            </a:prstGeom>
            <a:ln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/>
            <a:lstStyle/>
            <a:p>
              <a:pPr algn="ctr"/>
              <a:endParaRPr lang="fi-FI" sz="12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6838543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999BD4-C41E-0ECF-251E-96001CC734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/>
              <a:t>Viskositeettiluokiteltujen tiebitumien laatuvaatimukset Asfalttinormeissa </a:t>
            </a:r>
            <a:r>
              <a:rPr lang="fi-FI" sz="1400" dirty="0"/>
              <a:t>(SFS-EN 12591)</a:t>
            </a:r>
            <a:endParaRPr lang="fi-FI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DFB627C-9FAE-94FF-32B9-CF5662A024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A49F53B-68F7-402D-8883-CC8AD69B34F2}" type="slidenum">
              <a:rPr lang="en-GB" smtClean="0"/>
              <a:pPr/>
              <a:t>13</a:t>
            </a:fld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2DDD822-D1AC-0B88-2FCF-1386A241C85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GB"/>
              <a:t>15 March, 2023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17DD19-3100-FA69-C6C5-CC9B17D18C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2023 Nynas. All rights reserved.</a:t>
            </a:r>
            <a:endParaRPr lang="sv-SE" dirty="0"/>
          </a:p>
        </p:txBody>
      </p:sp>
      <p:graphicFrame>
        <p:nvGraphicFramePr>
          <p:cNvPr id="7" name="Content Placeholder 1">
            <a:extLst>
              <a:ext uri="{FF2B5EF4-FFF2-40B4-BE49-F238E27FC236}">
                <a16:creationId xmlns:a16="http://schemas.microsoft.com/office/drawing/2014/main" id="{F2A26B2A-A375-9156-A406-22F3677FBDFF}"/>
              </a:ext>
            </a:extLst>
          </p:cNvPr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208535431"/>
              </p:ext>
            </p:extLst>
          </p:nvPr>
        </p:nvGraphicFramePr>
        <p:xfrm>
          <a:off x="1030034" y="1382801"/>
          <a:ext cx="5225462" cy="1855874"/>
        </p:xfrm>
        <a:graphic>
          <a:graphicData uri="http://schemas.openxmlformats.org/drawingml/2006/table">
            <a:tbl>
              <a:tblPr firstRow="1" firstCol="1" lastRow="1" lastCol="1" bandRow="1" bandCol="1">
                <a:tableStyleId>{5940675A-B579-460E-94D1-54222C63F5DA}</a:tableStyleId>
              </a:tblPr>
              <a:tblGrid>
                <a:gridCol w="1882888">
                  <a:extLst>
                    <a:ext uri="{9D8B030D-6E8A-4147-A177-3AD203B41FA5}">
                      <a16:colId xmlns:a16="http://schemas.microsoft.com/office/drawing/2014/main" val="786723196"/>
                    </a:ext>
                  </a:extLst>
                </a:gridCol>
                <a:gridCol w="548138">
                  <a:extLst>
                    <a:ext uri="{9D8B030D-6E8A-4147-A177-3AD203B41FA5}">
                      <a16:colId xmlns:a16="http://schemas.microsoft.com/office/drawing/2014/main" val="199605358"/>
                    </a:ext>
                  </a:extLst>
                </a:gridCol>
                <a:gridCol w="1406895">
                  <a:extLst>
                    <a:ext uri="{9D8B030D-6E8A-4147-A177-3AD203B41FA5}">
                      <a16:colId xmlns:a16="http://schemas.microsoft.com/office/drawing/2014/main" val="3496878272"/>
                    </a:ext>
                  </a:extLst>
                </a:gridCol>
                <a:gridCol w="722644">
                  <a:extLst>
                    <a:ext uri="{9D8B030D-6E8A-4147-A177-3AD203B41FA5}">
                      <a16:colId xmlns:a16="http://schemas.microsoft.com/office/drawing/2014/main" val="1712597414"/>
                    </a:ext>
                  </a:extLst>
                </a:gridCol>
                <a:gridCol w="664897">
                  <a:extLst>
                    <a:ext uri="{9D8B030D-6E8A-4147-A177-3AD203B41FA5}">
                      <a16:colId xmlns:a16="http://schemas.microsoft.com/office/drawing/2014/main" val="1265331503"/>
                    </a:ext>
                  </a:extLst>
                </a:gridCol>
              </a:tblGrid>
              <a:tr h="189068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 dirty="0">
                          <a:effectLst/>
                        </a:rPr>
                        <a:t>Bitumiluokka</a:t>
                      </a:r>
                      <a:endParaRPr lang="fi-FI" sz="9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>
                          <a:effectLst/>
                        </a:rPr>
                        <a:t> </a:t>
                      </a:r>
                      <a:endParaRPr lang="fi-FI" sz="9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 dirty="0">
                          <a:effectLst/>
                        </a:rPr>
                        <a:t>Menetelmä</a:t>
                      </a:r>
                      <a:endParaRPr lang="fi-FI" sz="9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  <a:tabLst>
                          <a:tab pos="1257300" algn="l"/>
                        </a:tabLst>
                      </a:pPr>
                      <a:r>
                        <a:rPr lang="fi-FI" sz="900" dirty="0">
                          <a:effectLst/>
                          <a:latin typeface="+mn-lt"/>
                          <a:ea typeface="SimSun" panose="02010600030101010101" pitchFamily="2" charset="-122"/>
                        </a:rPr>
                        <a:t>V3000</a:t>
                      </a: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  <a:tabLst>
                          <a:tab pos="1257300" algn="l"/>
                        </a:tabLst>
                      </a:pPr>
                      <a:r>
                        <a:rPr lang="fi-FI" sz="900" dirty="0">
                          <a:effectLst/>
                          <a:latin typeface="+mn-lt"/>
                          <a:ea typeface="SimSun" panose="02010600030101010101" pitchFamily="2" charset="-122"/>
                        </a:rPr>
                        <a:t>V1500</a:t>
                      </a: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:a16="http://schemas.microsoft.com/office/drawing/2014/main" val="544057453"/>
                  </a:ext>
                </a:extLst>
              </a:tr>
              <a:tr h="349128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 dirty="0">
                          <a:effectLst/>
                        </a:rPr>
                        <a:t>Kinemaattinen viskositeetti, 60 °C </a:t>
                      </a:r>
                      <a:endParaRPr lang="fi-FI" sz="9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>
                          <a:effectLst/>
                        </a:rPr>
                        <a:t>mm</a:t>
                      </a:r>
                      <a:r>
                        <a:rPr lang="fi-FI" sz="900" baseline="30000">
                          <a:effectLst/>
                        </a:rPr>
                        <a:t>2</a:t>
                      </a:r>
                      <a:r>
                        <a:rPr lang="fi-FI" sz="900">
                          <a:effectLst/>
                        </a:rPr>
                        <a:t>/s</a:t>
                      </a:r>
                      <a:endParaRPr lang="fi-FI" sz="9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 dirty="0">
                          <a:effectLst/>
                        </a:rPr>
                        <a:t>SFS-EN 12595</a:t>
                      </a:r>
                      <a:endParaRPr lang="fi-FI" sz="9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i-FI" sz="900" dirty="0">
                          <a:effectLst/>
                          <a:latin typeface="+mn-lt"/>
                          <a:ea typeface="SimSun" panose="02010600030101010101" pitchFamily="2" charset="-122"/>
                        </a:rPr>
                        <a:t>2000-4000</a:t>
                      </a: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i-FI" sz="900" dirty="0">
                          <a:effectLst/>
                          <a:latin typeface="+mn-lt"/>
                          <a:ea typeface="SimSun" panose="02010600030101010101" pitchFamily="2" charset="-122"/>
                        </a:rPr>
                        <a:t>1000-2000</a:t>
                      </a: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:a16="http://schemas.microsoft.com/office/drawing/2014/main" val="360309849"/>
                  </a:ext>
                </a:extLst>
              </a:tr>
              <a:tr h="242954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 dirty="0">
                          <a:effectLst/>
                        </a:rPr>
                        <a:t>Ohutkalvokoe, TFOT 120 °C </a:t>
                      </a:r>
                      <a:endParaRPr lang="fi-FI" sz="9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 dirty="0">
                          <a:effectLst/>
                        </a:rPr>
                        <a:t> </a:t>
                      </a:r>
                      <a:endParaRPr lang="fi-FI" sz="9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 dirty="0">
                          <a:effectLst/>
                        </a:rPr>
                        <a:t>SFS-EN 12607-2</a:t>
                      </a:r>
                      <a:endParaRPr lang="fi-FI" sz="9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fi-FI" sz="900">
                        <a:effectLst/>
                        <a:latin typeface="+mn-lt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fi-FI" sz="900" dirty="0">
                        <a:effectLst/>
                        <a:latin typeface="+mn-lt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:a16="http://schemas.microsoft.com/office/drawing/2014/main" val="3723095468"/>
                  </a:ext>
                </a:extLst>
              </a:tr>
              <a:tr h="242954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 dirty="0">
                          <a:effectLst/>
                        </a:rPr>
                        <a:t> - massan muutos </a:t>
                      </a:r>
                      <a:endParaRPr lang="fi-FI" sz="9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>
                          <a:effectLst/>
                        </a:rPr>
                        <a:t>± m-%</a:t>
                      </a:r>
                      <a:endParaRPr lang="fi-FI" sz="9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>
                          <a:effectLst/>
                        </a:rPr>
                        <a:t> </a:t>
                      </a:r>
                      <a:endParaRPr lang="fi-FI" sz="9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i-FI" sz="900" dirty="0">
                          <a:effectLst/>
                          <a:latin typeface="+mn-lt"/>
                          <a:ea typeface="SimSun" panose="02010600030101010101" pitchFamily="2" charset="-122"/>
                        </a:rPr>
                        <a:t>≤ 1,7</a:t>
                      </a: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i-FI" sz="900" dirty="0">
                          <a:effectLst/>
                          <a:latin typeface="+mn-lt"/>
                          <a:ea typeface="SimSun" panose="02010600030101010101" pitchFamily="2" charset="-122"/>
                        </a:rPr>
                        <a:t>≤ 2,0</a:t>
                      </a: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:a16="http://schemas.microsoft.com/office/drawing/2014/main" val="3605799450"/>
                  </a:ext>
                </a:extLst>
              </a:tr>
              <a:tr h="267248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 dirty="0">
                          <a:effectLst/>
                        </a:rPr>
                        <a:t> - Viskositeettisuhde 60 °C </a:t>
                      </a:r>
                      <a:endParaRPr lang="fi-FI" sz="9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fi-FI" sz="9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>
                          <a:effectLst/>
                        </a:rPr>
                        <a:t> </a:t>
                      </a:r>
                      <a:endParaRPr lang="fi-FI" sz="9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 dirty="0">
                          <a:effectLst/>
                          <a:latin typeface="+mn-lt"/>
                          <a:ea typeface="SimSun" panose="02010600030101010101" pitchFamily="2" charset="-122"/>
                        </a:rPr>
                        <a:t>≤ 3,0</a:t>
                      </a: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i-FI" sz="900" dirty="0">
                          <a:effectLst/>
                          <a:latin typeface="+mn-lt"/>
                          <a:ea typeface="SimSun" panose="02010600030101010101" pitchFamily="2" charset="-122"/>
                        </a:rPr>
                        <a:t>≤ 3,0</a:t>
                      </a: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:a16="http://schemas.microsoft.com/office/drawing/2014/main" val="1569137316"/>
                  </a:ext>
                </a:extLst>
              </a:tr>
              <a:tr h="277837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 dirty="0">
                          <a:effectLst/>
                        </a:rPr>
                        <a:t>Leimahduspiste, </a:t>
                      </a:r>
                      <a:r>
                        <a:rPr lang="fi-FI" sz="900" dirty="0" err="1">
                          <a:effectLst/>
                        </a:rPr>
                        <a:t>PMcc</a:t>
                      </a:r>
                      <a:endParaRPr lang="fi-FI" sz="9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>
                          <a:effectLst/>
                        </a:rPr>
                        <a:t>°C</a:t>
                      </a:r>
                      <a:endParaRPr lang="fi-FI" sz="9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 dirty="0">
                          <a:effectLst/>
                        </a:rPr>
                        <a:t>SFS-EN ISO 2719</a:t>
                      </a:r>
                      <a:endParaRPr lang="fi-FI" sz="9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 dirty="0">
                          <a:effectLst/>
                          <a:latin typeface="+mn-lt"/>
                        </a:rPr>
                        <a:t>≥ 160</a:t>
                      </a:r>
                      <a:endParaRPr lang="fi-FI" sz="900" dirty="0">
                        <a:effectLst/>
                        <a:latin typeface="+mn-lt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i-FI" sz="900" dirty="0">
                          <a:effectLst/>
                          <a:latin typeface="+mn-lt"/>
                        </a:rPr>
                        <a:t>≥ 160</a:t>
                      </a:r>
                      <a:endParaRPr lang="fi-FI" sz="900" dirty="0">
                        <a:effectLst/>
                        <a:latin typeface="+mn-lt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:a16="http://schemas.microsoft.com/office/drawing/2014/main" val="3234696846"/>
                  </a:ext>
                </a:extLst>
              </a:tr>
              <a:tr h="286685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 dirty="0">
                          <a:effectLst/>
                        </a:rPr>
                        <a:t>Liukoisuus tolueeniin</a:t>
                      </a:r>
                      <a:br>
                        <a:rPr lang="fi-FI" sz="900" dirty="0">
                          <a:effectLst/>
                        </a:rPr>
                      </a:br>
                      <a:endParaRPr lang="fi-FI" sz="9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>
                          <a:effectLst/>
                        </a:rPr>
                        <a:t>m-%</a:t>
                      </a:r>
                      <a:endParaRPr lang="fi-FI" sz="90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 dirty="0">
                          <a:effectLst/>
                        </a:rPr>
                        <a:t>SFS-EN 12592</a:t>
                      </a:r>
                      <a:endParaRPr lang="fi-FI" sz="900" dirty="0">
                        <a:effectLst/>
                        <a:latin typeface="Times New Roman" panose="02020603050405020304" pitchFamily="18" charset="0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 dirty="0">
                          <a:effectLst/>
                          <a:latin typeface="+mn-lt"/>
                        </a:rPr>
                        <a:t>≥ 99,0</a:t>
                      </a:r>
                      <a:endParaRPr lang="fi-FI" sz="900" dirty="0">
                        <a:effectLst/>
                        <a:latin typeface="+mn-lt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fi-FI" sz="900" dirty="0">
                          <a:effectLst/>
                          <a:latin typeface="+mn-lt"/>
                        </a:rPr>
                        <a:t>≥ 99,0</a:t>
                      </a:r>
                      <a:endParaRPr lang="fi-FI" sz="900" dirty="0">
                        <a:effectLst/>
                        <a:latin typeface="+mn-lt"/>
                        <a:ea typeface="SimSun" panose="02010600030101010101" pitchFamily="2" charset="-122"/>
                      </a:endParaRPr>
                    </a:p>
                  </a:txBody>
                  <a:tcPr marL="51435" marR="51435" marT="0" marB="0"/>
                </a:tc>
                <a:extLst>
                  <a:ext uri="{0D108BD9-81ED-4DB2-BD59-A6C34878D82A}">
                    <a16:rowId xmlns:a16="http://schemas.microsoft.com/office/drawing/2014/main" val="3679724693"/>
                  </a:ext>
                </a:extLst>
              </a:tr>
            </a:tbl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FCAA2F56-DB48-B6E8-5FF9-8EF186466A7E}"/>
              </a:ext>
            </a:extLst>
          </p:cNvPr>
          <p:cNvSpPr txBox="1"/>
          <p:nvPr/>
        </p:nvSpPr>
        <p:spPr>
          <a:xfrm>
            <a:off x="55109" y="900113"/>
            <a:ext cx="502104" cy="236612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endParaRPr lang="fi-FI" sz="1200" dirty="0" err="1">
              <a:solidFill>
                <a:srgbClr val="3C3C3C"/>
              </a:solidFill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66B766E0-FF2E-CCAE-E9E2-AC2686E8D978}"/>
              </a:ext>
            </a:extLst>
          </p:cNvPr>
          <p:cNvGrpSpPr/>
          <p:nvPr/>
        </p:nvGrpSpPr>
        <p:grpSpPr>
          <a:xfrm>
            <a:off x="432000" y="1199838"/>
            <a:ext cx="445468" cy="1444784"/>
            <a:chOff x="432000" y="1199838"/>
            <a:chExt cx="445468" cy="1444784"/>
          </a:xfrm>
        </p:grpSpPr>
        <p:sp>
          <p:nvSpPr>
            <p:cNvPr id="8" name="Arrow: Right 7">
              <a:extLst>
                <a:ext uri="{FF2B5EF4-FFF2-40B4-BE49-F238E27FC236}">
                  <a16:creationId xmlns:a16="http://schemas.microsoft.com/office/drawing/2014/main" id="{67E3B073-DAC9-8004-2F8F-70B1E1421D18}"/>
                </a:ext>
              </a:extLst>
            </p:cNvPr>
            <p:cNvSpPr/>
            <p:nvPr/>
          </p:nvSpPr>
          <p:spPr>
            <a:xfrm>
              <a:off x="443226" y="1646552"/>
              <a:ext cx="434242" cy="178594"/>
            </a:xfrm>
            <a:prstGeom prst="rightArrow">
              <a:avLst/>
            </a:prstGeom>
            <a:ln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/>
            <a:lstStyle/>
            <a:p>
              <a:pPr algn="ctr"/>
              <a:endParaRPr lang="fi-FI" sz="1200" dirty="0">
                <a:solidFill>
                  <a:schemeClr val="tx1"/>
                </a:solidFill>
              </a:endParaRPr>
            </a:p>
          </p:txBody>
        </p: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11CC960A-167D-605D-2575-96A7717F00C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432000" y="1199838"/>
              <a:ext cx="435752" cy="273844"/>
            </a:xfrm>
            <a:prstGeom prst="rect">
              <a:avLst/>
            </a:prstGeom>
          </p:spPr>
        </p:pic>
        <p:sp>
          <p:nvSpPr>
            <p:cNvPr id="14" name="Arrow: Right 13">
              <a:extLst>
                <a:ext uri="{FF2B5EF4-FFF2-40B4-BE49-F238E27FC236}">
                  <a16:creationId xmlns:a16="http://schemas.microsoft.com/office/drawing/2014/main" id="{8C27CBB1-54D5-117A-3088-2FCF8C894141}"/>
                </a:ext>
              </a:extLst>
            </p:cNvPr>
            <p:cNvSpPr/>
            <p:nvPr/>
          </p:nvSpPr>
          <p:spPr>
            <a:xfrm>
              <a:off x="443226" y="2466028"/>
              <a:ext cx="434242" cy="178594"/>
            </a:xfrm>
            <a:prstGeom prst="rightArrow">
              <a:avLst/>
            </a:prstGeom>
            <a:ln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/>
            <a:lstStyle/>
            <a:p>
              <a:pPr algn="ctr"/>
              <a:endParaRPr lang="fi-FI" sz="12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58963433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itle 46">
            <a:extLst>
              <a:ext uri="{FF2B5EF4-FFF2-40B4-BE49-F238E27FC236}">
                <a16:creationId xmlns:a16="http://schemas.microsoft.com/office/drawing/2014/main" id="{8BA45BA3-E795-C36E-6E84-D0A1DEFD38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/>
              <a:t>Bitumin laatuvaatimukse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216F9C8-C4B7-BE3E-7A9E-FA350BF626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A49F53B-68F7-402D-8883-CC8AD69B34F2}" type="slidenum">
              <a:rPr lang="en-GB" smtClean="0"/>
              <a:pPr/>
              <a:t>14</a:t>
            </a:fld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95152A6-3F77-FB95-1B41-0037FD6B15A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GB"/>
              <a:t>15 March, 2023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2B37FDE-FCFA-428E-02FD-CE2ACB2F5DB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2023 Nynas. All rights reserved.</a:t>
            </a:r>
            <a:endParaRPr lang="sv-SE" dirty="0"/>
          </a:p>
        </p:txBody>
      </p:sp>
      <p:sp>
        <p:nvSpPr>
          <p:cNvPr id="48" name="Content Placeholder 47">
            <a:extLst>
              <a:ext uri="{FF2B5EF4-FFF2-40B4-BE49-F238E27FC236}">
                <a16:creationId xmlns:a16="http://schemas.microsoft.com/office/drawing/2014/main" id="{DC0CB922-5FD4-1798-E3B0-2B2D7EB88DD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677656" y="1202701"/>
            <a:ext cx="2384162" cy="2192430"/>
          </a:xfrm>
        </p:spPr>
        <p:txBody>
          <a:bodyPr/>
          <a:lstStyle/>
          <a:p>
            <a:r>
              <a:rPr lang="en-GB" dirty="0" err="1"/>
              <a:t>Ei</a:t>
            </a:r>
            <a:r>
              <a:rPr lang="en-GB" dirty="0"/>
              <a:t> </a:t>
            </a:r>
            <a:r>
              <a:rPr lang="en-GB" dirty="0" err="1"/>
              <a:t>hauras</a:t>
            </a:r>
            <a:r>
              <a:rPr lang="en-GB" dirty="0"/>
              <a:t> </a:t>
            </a:r>
            <a:r>
              <a:rPr lang="en-GB" dirty="0" err="1"/>
              <a:t>kylmässä</a:t>
            </a:r>
            <a:endParaRPr lang="en-GB" dirty="0"/>
          </a:p>
          <a:p>
            <a:pPr lvl="1"/>
            <a:r>
              <a:rPr lang="en-GB" dirty="0" err="1"/>
              <a:t>Pakkaskatkot</a:t>
            </a:r>
            <a:endParaRPr lang="en-GB" dirty="0"/>
          </a:p>
          <a:p>
            <a:r>
              <a:rPr lang="en-GB" dirty="0" err="1"/>
              <a:t>Riittävän</a:t>
            </a:r>
            <a:r>
              <a:rPr lang="en-GB" dirty="0"/>
              <a:t> </a:t>
            </a:r>
            <a:r>
              <a:rPr lang="en-GB" dirty="0" err="1"/>
              <a:t>jäykkä</a:t>
            </a:r>
            <a:r>
              <a:rPr lang="en-GB" dirty="0"/>
              <a:t> </a:t>
            </a:r>
            <a:r>
              <a:rPr lang="en-GB" dirty="0" err="1"/>
              <a:t>päällysteen</a:t>
            </a:r>
            <a:r>
              <a:rPr lang="en-GB" dirty="0"/>
              <a:t> </a:t>
            </a:r>
            <a:r>
              <a:rPr lang="en-GB" dirty="0" err="1"/>
              <a:t>normaalilämpötiloissa</a:t>
            </a:r>
            <a:endParaRPr lang="en-GB" dirty="0"/>
          </a:p>
          <a:p>
            <a:pPr lvl="1"/>
            <a:r>
              <a:rPr lang="en-GB" dirty="0" err="1"/>
              <a:t>Deformaatio</a:t>
            </a:r>
            <a:endParaRPr lang="en-GB" dirty="0"/>
          </a:p>
          <a:p>
            <a:r>
              <a:rPr lang="en-GB" dirty="0" err="1"/>
              <a:t>Työstettävissä</a:t>
            </a:r>
            <a:r>
              <a:rPr lang="en-GB" dirty="0"/>
              <a:t> </a:t>
            </a:r>
            <a:r>
              <a:rPr lang="en-GB" dirty="0" err="1"/>
              <a:t>kuumana</a:t>
            </a:r>
            <a:endParaRPr lang="en-GB" dirty="0"/>
          </a:p>
          <a:p>
            <a:pPr lvl="1"/>
            <a:r>
              <a:rPr lang="en-GB" dirty="0" err="1"/>
              <a:t>Sopiva</a:t>
            </a:r>
            <a:r>
              <a:rPr lang="en-GB" dirty="0"/>
              <a:t> </a:t>
            </a:r>
            <a:r>
              <a:rPr lang="en-GB" dirty="0" err="1"/>
              <a:t>viskositeetti</a:t>
            </a:r>
            <a:r>
              <a:rPr lang="en-GB" dirty="0"/>
              <a:t> </a:t>
            </a:r>
            <a:r>
              <a:rPr lang="en-GB" dirty="0" err="1"/>
              <a:t>sekoittamiseen</a:t>
            </a:r>
            <a:endParaRPr lang="en-GB" dirty="0"/>
          </a:p>
          <a:p>
            <a:pPr lvl="1"/>
            <a:r>
              <a:rPr lang="en-GB" dirty="0" err="1"/>
              <a:t>Hyvä</a:t>
            </a:r>
            <a:r>
              <a:rPr lang="en-GB" dirty="0"/>
              <a:t> </a:t>
            </a:r>
            <a:r>
              <a:rPr lang="en-GB" dirty="0" err="1"/>
              <a:t>tiivistettävyys</a:t>
            </a:r>
            <a:endParaRPr lang="en-GB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5DA41469-B2F3-1E6C-BFD2-D8414567E134}"/>
              </a:ext>
            </a:extLst>
          </p:cNvPr>
          <p:cNvGrpSpPr/>
          <p:nvPr/>
        </p:nvGrpSpPr>
        <p:grpSpPr>
          <a:xfrm>
            <a:off x="432000" y="991401"/>
            <a:ext cx="6931327" cy="3823709"/>
            <a:chOff x="749227" y="1022566"/>
            <a:chExt cx="7299327" cy="4845616"/>
          </a:xfrm>
        </p:grpSpPr>
        <p:grpSp>
          <p:nvGrpSpPr>
            <p:cNvPr id="8" name="Group 8">
              <a:extLst>
                <a:ext uri="{FF2B5EF4-FFF2-40B4-BE49-F238E27FC236}">
                  <a16:creationId xmlns:a16="http://schemas.microsoft.com/office/drawing/2014/main" id="{3C46C756-D979-DCA9-F730-D89CFEF8545F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49227" y="1517584"/>
              <a:ext cx="7299327" cy="4348163"/>
              <a:chOff x="620" y="667"/>
              <a:chExt cx="4598" cy="2739"/>
            </a:xfrm>
          </p:grpSpPr>
          <p:sp>
            <p:nvSpPr>
              <p:cNvPr id="40" name="Line 4">
                <a:extLst>
                  <a:ext uri="{FF2B5EF4-FFF2-40B4-BE49-F238E27FC236}">
                    <a16:creationId xmlns:a16="http://schemas.microsoft.com/office/drawing/2014/main" id="{E750DAA4-329A-4F68-B65B-2275B7F4B61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830" y="3224"/>
                <a:ext cx="4388" cy="0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  <a:headEnd/>
                <a:tailEnd type="stealth" w="lg" len="lg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41" name="Line 5">
                <a:extLst>
                  <a:ext uri="{FF2B5EF4-FFF2-40B4-BE49-F238E27FC236}">
                    <a16:creationId xmlns:a16="http://schemas.microsoft.com/office/drawing/2014/main" id="{983C14D2-5D0F-D353-EACA-2F6E98DDE26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824" y="667"/>
                <a:ext cx="7" cy="2563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  <a:headEnd/>
                <a:tailEnd type="stealth" w="lg" len="lg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42" name="Text Box 6">
                <a:extLst>
                  <a:ext uri="{FF2B5EF4-FFF2-40B4-BE49-F238E27FC236}">
                    <a16:creationId xmlns:a16="http://schemas.microsoft.com/office/drawing/2014/main" id="{F31F7E50-1085-9658-D73F-6FA744FC17CB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4542" y="3252"/>
                <a:ext cx="605" cy="15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r>
                  <a:rPr lang="fi-FI" sz="1200" dirty="0"/>
                  <a:t>Lämpötila</a:t>
                </a:r>
                <a:endParaRPr lang="en-US" sz="1200" dirty="0"/>
              </a:p>
            </p:txBody>
          </p:sp>
          <p:sp>
            <p:nvSpPr>
              <p:cNvPr id="43" name="Text Box 7">
                <a:extLst>
                  <a:ext uri="{FF2B5EF4-FFF2-40B4-BE49-F238E27FC236}">
                    <a16:creationId xmlns:a16="http://schemas.microsoft.com/office/drawing/2014/main" id="{EDADF9DD-0C5C-C5C2-9197-CB6B3F605EC9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 rot="16200000">
                <a:off x="45" y="1297"/>
                <a:ext cx="1287" cy="13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>
                <a:spAutoFit/>
              </a:bodyPr>
              <a:lstStyle/>
              <a:p>
                <a:r>
                  <a:rPr lang="fi-FI" sz="1200" dirty="0"/>
                  <a:t>Viskositeetti / jäykkyys</a:t>
                </a:r>
                <a:endParaRPr lang="en-US" sz="1200" dirty="0"/>
              </a:p>
            </p:txBody>
          </p:sp>
        </p:grpSp>
        <p:sp>
          <p:nvSpPr>
            <p:cNvPr id="9" name="Text Box 9">
              <a:extLst>
                <a:ext uri="{FF2B5EF4-FFF2-40B4-BE49-F238E27FC236}">
                  <a16:creationId xmlns:a16="http://schemas.microsoft.com/office/drawing/2014/main" id="{2F257691-5F11-7BA1-56E9-F9E1379CD7B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730582" y="5619526"/>
              <a:ext cx="456856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fi-FI" sz="1200" dirty="0"/>
                <a:t>60</a:t>
              </a:r>
              <a:r>
                <a:rPr lang="en-US" sz="1200" dirty="0">
                  <a:cs typeface="Arial" pitchFamily="34" charset="0"/>
                </a:rPr>
                <a:t>°C</a:t>
              </a:r>
            </a:p>
          </p:txBody>
        </p:sp>
        <p:sp>
          <p:nvSpPr>
            <p:cNvPr id="10" name="Text Box 14">
              <a:extLst>
                <a:ext uri="{FF2B5EF4-FFF2-40B4-BE49-F238E27FC236}">
                  <a16:creationId xmlns:a16="http://schemas.microsoft.com/office/drawing/2014/main" id="{AAB55BD3-7695-51FB-81E9-F0D43F9E30A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043676" y="2716334"/>
              <a:ext cx="1744067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fi-FI" sz="1200" dirty="0"/>
                <a:t>Pehmenemispiste</a:t>
              </a:r>
              <a:endParaRPr lang="en-US" sz="1200" dirty="0"/>
            </a:p>
          </p:txBody>
        </p:sp>
        <p:sp>
          <p:nvSpPr>
            <p:cNvPr id="11" name="Text Box 9">
              <a:extLst>
                <a:ext uri="{FF2B5EF4-FFF2-40B4-BE49-F238E27FC236}">
                  <a16:creationId xmlns:a16="http://schemas.microsoft.com/office/drawing/2014/main" id="{A592D951-DCCD-2C3A-6868-5B7894911E5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423381" y="5620215"/>
              <a:ext cx="525785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fi-FI" sz="1200" dirty="0"/>
                <a:t>-25</a:t>
              </a:r>
              <a:r>
                <a:rPr lang="en-US" sz="1200" dirty="0">
                  <a:cs typeface="Arial" pitchFamily="34" charset="0"/>
                </a:rPr>
                <a:t>°C</a:t>
              </a:r>
            </a:p>
          </p:txBody>
        </p:sp>
        <p:sp>
          <p:nvSpPr>
            <p:cNvPr id="12" name="Text Box 9">
              <a:extLst>
                <a:ext uri="{FF2B5EF4-FFF2-40B4-BE49-F238E27FC236}">
                  <a16:creationId xmlns:a16="http://schemas.microsoft.com/office/drawing/2014/main" id="{DB1D5D0C-2CD9-AC15-29EE-2FED1E8F980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277428" y="5619525"/>
              <a:ext cx="570669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fi-FI" sz="1200" dirty="0"/>
                <a:t>135</a:t>
              </a:r>
              <a:r>
                <a:rPr lang="en-US" sz="1200" dirty="0">
                  <a:cs typeface="Arial" pitchFamily="34" charset="0"/>
                </a:rPr>
                <a:t>°C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23AA250F-DCED-B1C3-AE3E-B59AEC150087}"/>
                </a:ext>
              </a:extLst>
            </p:cNvPr>
            <p:cNvSpPr txBox="1"/>
            <p:nvPr/>
          </p:nvSpPr>
          <p:spPr>
            <a:xfrm>
              <a:off x="2453954" y="1290338"/>
              <a:ext cx="1094276" cy="3442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fi-FI" sz="1200" dirty="0"/>
                <a:t>Tunkeuma</a:t>
              </a:r>
              <a:endParaRPr lang="en-US" sz="1200" dirty="0"/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7A8BDE54-7433-CE75-09F0-839195941F55}"/>
                </a:ext>
              </a:extLst>
            </p:cNvPr>
            <p:cNvSpPr txBox="1"/>
            <p:nvPr/>
          </p:nvSpPr>
          <p:spPr>
            <a:xfrm>
              <a:off x="947484" y="1022566"/>
              <a:ext cx="2146742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i-FI" sz="1200" dirty="0" err="1"/>
                <a:t>Fraass</a:t>
              </a:r>
              <a:r>
                <a:rPr lang="fi-FI" sz="1200" dirty="0"/>
                <a:t> murtumispiste</a:t>
              </a:r>
              <a:endParaRPr lang="en-US" sz="1200" dirty="0"/>
            </a:p>
          </p:txBody>
        </p: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72F1DB88-10F1-9E73-7D07-F7F5EF5F4A61}"/>
                </a:ext>
              </a:extLst>
            </p:cNvPr>
            <p:cNvGrpSpPr/>
            <p:nvPr/>
          </p:nvGrpSpPr>
          <p:grpSpPr>
            <a:xfrm>
              <a:off x="2907960" y="2370865"/>
              <a:ext cx="186266" cy="409311"/>
              <a:chOff x="3132667" y="2062956"/>
              <a:chExt cx="186266" cy="409311"/>
            </a:xfrm>
          </p:grpSpPr>
          <p:cxnSp>
            <p:nvCxnSpPr>
              <p:cNvPr id="38" name="Straight Arrow Connector 37">
                <a:extLst>
                  <a:ext uri="{FF2B5EF4-FFF2-40B4-BE49-F238E27FC236}">
                    <a16:creationId xmlns:a16="http://schemas.microsoft.com/office/drawing/2014/main" id="{CF724C8A-0842-CEAC-C512-98F554936963}"/>
                  </a:ext>
                </a:extLst>
              </p:cNvPr>
              <p:cNvCxnSpPr/>
              <p:nvPr/>
            </p:nvCxnSpPr>
            <p:spPr bwMode="auto">
              <a:xfrm flipV="1">
                <a:off x="3217333" y="2062956"/>
                <a:ext cx="0" cy="409311"/>
              </a:xfrm>
              <a:prstGeom prst="straightConnector1">
                <a:avLst/>
              </a:prstGeom>
              <a:solidFill>
                <a:schemeClr val="accent1"/>
              </a:solidFill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triangle" w="med" len="med"/>
              </a:ln>
              <a:effectLst/>
            </p:spPr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93EC8138-1C16-F75A-4620-FE2802F61BB3}"/>
                  </a:ext>
                </a:extLst>
              </p:cNvPr>
              <p:cNvCxnSpPr/>
              <p:nvPr/>
            </p:nvCxnSpPr>
            <p:spPr bwMode="auto">
              <a:xfrm>
                <a:off x="3132667" y="2062956"/>
                <a:ext cx="186266" cy="0"/>
              </a:xfrm>
              <a:prstGeom prst="line">
                <a:avLst/>
              </a:prstGeom>
              <a:solidFill>
                <a:schemeClr val="accent1"/>
              </a:solidFill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9367B5B1-310A-EE77-A1D3-99436C55E59C}"/>
                </a:ext>
              </a:extLst>
            </p:cNvPr>
            <p:cNvGrpSpPr/>
            <p:nvPr/>
          </p:nvGrpSpPr>
          <p:grpSpPr>
            <a:xfrm>
              <a:off x="2907960" y="1635812"/>
              <a:ext cx="186266" cy="409311"/>
              <a:chOff x="3132667" y="1327903"/>
              <a:chExt cx="186266" cy="409311"/>
            </a:xfrm>
          </p:grpSpPr>
          <p:cxnSp>
            <p:nvCxnSpPr>
              <p:cNvPr id="36" name="Straight Arrow Connector 35">
                <a:extLst>
                  <a:ext uri="{FF2B5EF4-FFF2-40B4-BE49-F238E27FC236}">
                    <a16:creationId xmlns:a16="http://schemas.microsoft.com/office/drawing/2014/main" id="{F35E6E15-F38F-DD6D-EB73-5D0CD1689196}"/>
                  </a:ext>
                </a:extLst>
              </p:cNvPr>
              <p:cNvCxnSpPr/>
              <p:nvPr/>
            </p:nvCxnSpPr>
            <p:spPr bwMode="auto">
              <a:xfrm>
                <a:off x="3217333" y="1327903"/>
                <a:ext cx="0" cy="409311"/>
              </a:xfrm>
              <a:prstGeom prst="straightConnector1">
                <a:avLst/>
              </a:prstGeom>
              <a:solidFill>
                <a:schemeClr val="accent1"/>
              </a:solidFill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triangle" w="med" len="med"/>
              </a:ln>
              <a:effectLst/>
            </p:spPr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3846475A-0A48-A0BD-EE9F-D9E57BF106BC}"/>
                  </a:ext>
                </a:extLst>
              </p:cNvPr>
              <p:cNvCxnSpPr/>
              <p:nvPr/>
            </p:nvCxnSpPr>
            <p:spPr bwMode="auto">
              <a:xfrm>
                <a:off x="3132667" y="1737214"/>
                <a:ext cx="186266" cy="0"/>
              </a:xfrm>
              <a:prstGeom prst="line">
                <a:avLst/>
              </a:prstGeom>
              <a:solidFill>
                <a:schemeClr val="accent1"/>
              </a:solidFill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sp>
          <p:nvSpPr>
            <p:cNvPr id="17" name="Text Box 9">
              <a:extLst>
                <a:ext uri="{FF2B5EF4-FFF2-40B4-BE49-F238E27FC236}">
                  <a16:creationId xmlns:a16="http://schemas.microsoft.com/office/drawing/2014/main" id="{F8504B36-F58E-80F9-97A7-158521FF4C5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772665" y="5621961"/>
              <a:ext cx="456856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fi-FI" sz="1200" dirty="0"/>
                <a:t>25</a:t>
              </a:r>
              <a:r>
                <a:rPr lang="en-US" sz="1200" dirty="0">
                  <a:cs typeface="Arial" pitchFamily="34" charset="0"/>
                </a:rPr>
                <a:t>°C</a:t>
              </a: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68D01007-1AD4-14E6-B7D9-FBD5F5B303A4}"/>
                </a:ext>
              </a:extLst>
            </p:cNvPr>
            <p:cNvGrpSpPr/>
            <p:nvPr/>
          </p:nvGrpSpPr>
          <p:grpSpPr>
            <a:xfrm rot="5400000">
              <a:off x="3821012" y="2634791"/>
              <a:ext cx="186266" cy="409311"/>
              <a:chOff x="3132667" y="2062956"/>
              <a:chExt cx="186266" cy="409311"/>
            </a:xfrm>
          </p:grpSpPr>
          <p:cxnSp>
            <p:nvCxnSpPr>
              <p:cNvPr id="34" name="Straight Arrow Connector 33">
                <a:extLst>
                  <a:ext uri="{FF2B5EF4-FFF2-40B4-BE49-F238E27FC236}">
                    <a16:creationId xmlns:a16="http://schemas.microsoft.com/office/drawing/2014/main" id="{D5A2E259-DB7D-236B-7CAA-9003259B288D}"/>
                  </a:ext>
                </a:extLst>
              </p:cNvPr>
              <p:cNvCxnSpPr/>
              <p:nvPr/>
            </p:nvCxnSpPr>
            <p:spPr bwMode="auto">
              <a:xfrm flipV="1">
                <a:off x="3217333" y="2062956"/>
                <a:ext cx="0" cy="409311"/>
              </a:xfrm>
              <a:prstGeom prst="straightConnector1">
                <a:avLst/>
              </a:prstGeom>
              <a:solidFill>
                <a:schemeClr val="accent1"/>
              </a:solidFill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triangle" w="med" len="med"/>
              </a:ln>
              <a:effectLst/>
            </p:spPr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48C2DF7D-BA39-4728-B931-19ECE9DAD8E1}"/>
                  </a:ext>
                </a:extLst>
              </p:cNvPr>
              <p:cNvCxnSpPr/>
              <p:nvPr/>
            </p:nvCxnSpPr>
            <p:spPr bwMode="auto">
              <a:xfrm>
                <a:off x="3132667" y="2062956"/>
                <a:ext cx="186266" cy="0"/>
              </a:xfrm>
              <a:prstGeom prst="line">
                <a:avLst/>
              </a:prstGeom>
              <a:solidFill>
                <a:schemeClr val="accent1"/>
              </a:solidFill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FAD06575-3BC0-A246-F91D-F4F97251AE9A}"/>
                </a:ext>
              </a:extLst>
            </p:cNvPr>
            <p:cNvGrpSpPr/>
            <p:nvPr/>
          </p:nvGrpSpPr>
          <p:grpSpPr>
            <a:xfrm rot="5400000">
              <a:off x="4637448" y="2634790"/>
              <a:ext cx="186266" cy="409311"/>
              <a:chOff x="3132667" y="1327903"/>
              <a:chExt cx="186266" cy="409311"/>
            </a:xfrm>
          </p:grpSpPr>
          <p:cxnSp>
            <p:nvCxnSpPr>
              <p:cNvPr id="32" name="Straight Arrow Connector 31">
                <a:extLst>
                  <a:ext uri="{FF2B5EF4-FFF2-40B4-BE49-F238E27FC236}">
                    <a16:creationId xmlns:a16="http://schemas.microsoft.com/office/drawing/2014/main" id="{2E613F97-C7A9-6D4F-FEED-172756AB05F3}"/>
                  </a:ext>
                </a:extLst>
              </p:cNvPr>
              <p:cNvCxnSpPr/>
              <p:nvPr/>
            </p:nvCxnSpPr>
            <p:spPr bwMode="auto">
              <a:xfrm>
                <a:off x="3217333" y="1327903"/>
                <a:ext cx="0" cy="409311"/>
              </a:xfrm>
              <a:prstGeom prst="straightConnector1">
                <a:avLst/>
              </a:prstGeom>
              <a:solidFill>
                <a:schemeClr val="accent1"/>
              </a:solidFill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triangle" w="med" len="med"/>
              </a:ln>
              <a:effectLst/>
            </p:spPr>
          </p:cxnSp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63C5011C-DE9A-2EF3-342E-963FE7912718}"/>
                  </a:ext>
                </a:extLst>
              </p:cNvPr>
              <p:cNvCxnSpPr/>
              <p:nvPr/>
            </p:nvCxnSpPr>
            <p:spPr bwMode="auto">
              <a:xfrm>
                <a:off x="3132667" y="1737214"/>
                <a:ext cx="186266" cy="0"/>
              </a:xfrm>
              <a:prstGeom prst="line">
                <a:avLst/>
              </a:prstGeom>
              <a:solidFill>
                <a:schemeClr val="accent1"/>
              </a:solidFill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7D1EC543-95EA-901B-6FD2-B7E2C1B1CCF6}"/>
                </a:ext>
              </a:extLst>
            </p:cNvPr>
            <p:cNvGrpSpPr/>
            <p:nvPr/>
          </p:nvGrpSpPr>
          <p:grpSpPr>
            <a:xfrm>
              <a:off x="1414915" y="1423140"/>
              <a:ext cx="186266" cy="409311"/>
              <a:chOff x="3132667" y="1327903"/>
              <a:chExt cx="186266" cy="409311"/>
            </a:xfrm>
          </p:grpSpPr>
          <p:cxnSp>
            <p:nvCxnSpPr>
              <p:cNvPr id="30" name="Straight Arrow Connector 29">
                <a:extLst>
                  <a:ext uri="{FF2B5EF4-FFF2-40B4-BE49-F238E27FC236}">
                    <a16:creationId xmlns:a16="http://schemas.microsoft.com/office/drawing/2014/main" id="{075B1AF6-B98F-0297-CD0B-2838512A9782}"/>
                  </a:ext>
                </a:extLst>
              </p:cNvPr>
              <p:cNvCxnSpPr/>
              <p:nvPr/>
            </p:nvCxnSpPr>
            <p:spPr bwMode="auto">
              <a:xfrm>
                <a:off x="3217333" y="1327903"/>
                <a:ext cx="0" cy="409311"/>
              </a:xfrm>
              <a:prstGeom prst="straightConnector1">
                <a:avLst/>
              </a:prstGeom>
              <a:solidFill>
                <a:schemeClr val="accent1"/>
              </a:solidFill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triangle" w="med" len="med"/>
              </a:ln>
              <a:effectLst/>
            </p:spPr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A5417456-443F-84B9-4C86-73184BEA23D0}"/>
                  </a:ext>
                </a:extLst>
              </p:cNvPr>
              <p:cNvCxnSpPr/>
              <p:nvPr/>
            </p:nvCxnSpPr>
            <p:spPr bwMode="auto">
              <a:xfrm>
                <a:off x="3132667" y="1737214"/>
                <a:ext cx="186266" cy="0"/>
              </a:xfrm>
              <a:prstGeom prst="line">
                <a:avLst/>
              </a:prstGeom>
              <a:solidFill>
                <a:schemeClr val="accent1"/>
              </a:solidFill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F8F899F7-156F-4275-6000-77995AE69722}"/>
                </a:ext>
              </a:extLst>
            </p:cNvPr>
            <p:cNvGrpSpPr/>
            <p:nvPr/>
          </p:nvGrpSpPr>
          <p:grpSpPr>
            <a:xfrm>
              <a:off x="4959010" y="3443683"/>
              <a:ext cx="186266" cy="409311"/>
              <a:chOff x="3132667" y="2062956"/>
              <a:chExt cx="186266" cy="409311"/>
            </a:xfrm>
          </p:grpSpPr>
          <p:cxnSp>
            <p:nvCxnSpPr>
              <p:cNvPr id="28" name="Straight Arrow Connector 27">
                <a:extLst>
                  <a:ext uri="{FF2B5EF4-FFF2-40B4-BE49-F238E27FC236}">
                    <a16:creationId xmlns:a16="http://schemas.microsoft.com/office/drawing/2014/main" id="{EF767B72-3A69-42DE-15FE-F4C65240647F}"/>
                  </a:ext>
                </a:extLst>
              </p:cNvPr>
              <p:cNvCxnSpPr/>
              <p:nvPr/>
            </p:nvCxnSpPr>
            <p:spPr bwMode="auto">
              <a:xfrm flipV="1">
                <a:off x="3217333" y="2062956"/>
                <a:ext cx="0" cy="409311"/>
              </a:xfrm>
              <a:prstGeom prst="straightConnector1">
                <a:avLst/>
              </a:prstGeom>
              <a:solidFill>
                <a:schemeClr val="accent1"/>
              </a:solidFill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triangle" w="med" len="med"/>
              </a:ln>
              <a:effectLst/>
            </p:spPr>
          </p:cxn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2C32F2C8-4462-E424-72AE-CE8BD11F047F}"/>
                  </a:ext>
                </a:extLst>
              </p:cNvPr>
              <p:cNvCxnSpPr/>
              <p:nvPr/>
            </p:nvCxnSpPr>
            <p:spPr bwMode="auto">
              <a:xfrm>
                <a:off x="3132667" y="2062956"/>
                <a:ext cx="186266" cy="0"/>
              </a:xfrm>
              <a:prstGeom prst="line">
                <a:avLst/>
              </a:prstGeom>
              <a:solidFill>
                <a:schemeClr val="accent1"/>
              </a:solidFill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51E3911A-A88C-E98D-7AEF-4A6499940573}"/>
                </a:ext>
              </a:extLst>
            </p:cNvPr>
            <p:cNvGrpSpPr/>
            <p:nvPr/>
          </p:nvGrpSpPr>
          <p:grpSpPr>
            <a:xfrm>
              <a:off x="6376496" y="4384435"/>
              <a:ext cx="186266" cy="409311"/>
              <a:chOff x="3132667" y="2062956"/>
              <a:chExt cx="186266" cy="409311"/>
            </a:xfrm>
          </p:grpSpPr>
          <p:cxnSp>
            <p:nvCxnSpPr>
              <p:cNvPr id="26" name="Straight Arrow Connector 25">
                <a:extLst>
                  <a:ext uri="{FF2B5EF4-FFF2-40B4-BE49-F238E27FC236}">
                    <a16:creationId xmlns:a16="http://schemas.microsoft.com/office/drawing/2014/main" id="{E3238A84-5A64-12EA-1D0A-84397CAFAEF7}"/>
                  </a:ext>
                </a:extLst>
              </p:cNvPr>
              <p:cNvCxnSpPr/>
              <p:nvPr/>
            </p:nvCxnSpPr>
            <p:spPr bwMode="auto">
              <a:xfrm flipV="1">
                <a:off x="3217333" y="2062956"/>
                <a:ext cx="0" cy="409311"/>
              </a:xfrm>
              <a:prstGeom prst="straightConnector1">
                <a:avLst/>
              </a:prstGeom>
              <a:solidFill>
                <a:schemeClr val="accent1"/>
              </a:solidFill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triangle" w="med" len="med"/>
              </a:ln>
              <a:effectLst/>
            </p:spPr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752D2772-1ED9-2E89-C22C-3055084973E7}"/>
                  </a:ext>
                </a:extLst>
              </p:cNvPr>
              <p:cNvCxnSpPr/>
              <p:nvPr/>
            </p:nvCxnSpPr>
            <p:spPr bwMode="auto">
              <a:xfrm>
                <a:off x="3132667" y="2062956"/>
                <a:ext cx="186266" cy="0"/>
              </a:xfrm>
              <a:prstGeom prst="line">
                <a:avLst/>
              </a:prstGeom>
              <a:solidFill>
                <a:schemeClr val="accent1"/>
              </a:solidFill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3B61D40E-01E9-0884-45CA-FB20386587EC}"/>
                </a:ext>
              </a:extLst>
            </p:cNvPr>
            <p:cNvSpPr txBox="1"/>
            <p:nvPr/>
          </p:nvSpPr>
          <p:spPr>
            <a:xfrm>
              <a:off x="4344534" y="3983358"/>
              <a:ext cx="1391215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i-FI" sz="1200" dirty="0"/>
                <a:t>Viskositeetti</a:t>
              </a:r>
            </a:p>
            <a:p>
              <a:pPr algn="ctr"/>
              <a:r>
                <a:rPr lang="fi-FI" sz="1200" dirty="0"/>
                <a:t>60°C</a:t>
              </a:r>
              <a:endParaRPr lang="en-US" sz="1200" dirty="0"/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12CF8B40-ABC3-CE21-AC1A-19FC4A58ADA3}"/>
                </a:ext>
              </a:extLst>
            </p:cNvPr>
            <p:cNvSpPr txBox="1"/>
            <p:nvPr/>
          </p:nvSpPr>
          <p:spPr>
            <a:xfrm>
              <a:off x="5776137" y="4976614"/>
              <a:ext cx="1845540" cy="3442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i-FI" sz="1200" dirty="0"/>
                <a:t>Viskositeetti 135 °C </a:t>
              </a:r>
            </a:p>
          </p:txBody>
        </p:sp>
        <p:sp>
          <p:nvSpPr>
            <p:cNvPr id="25" name="Freeform 4">
              <a:extLst>
                <a:ext uri="{FF2B5EF4-FFF2-40B4-BE49-F238E27FC236}">
                  <a16:creationId xmlns:a16="http://schemas.microsoft.com/office/drawing/2014/main" id="{9F1F3163-1BAC-495B-E78A-1FE9FC1EBA6D}"/>
                </a:ext>
              </a:extLst>
            </p:cNvPr>
            <p:cNvSpPr/>
            <p:nvPr/>
          </p:nvSpPr>
          <p:spPr>
            <a:xfrm>
              <a:off x="1265426" y="1908109"/>
              <a:ext cx="6316134" cy="3090333"/>
            </a:xfrm>
            <a:custGeom>
              <a:avLst/>
              <a:gdLst>
                <a:gd name="connsiteX0" fmla="*/ 0 w 6316134"/>
                <a:gd name="connsiteY0" fmla="*/ 0 h 3090333"/>
                <a:gd name="connsiteX1" fmla="*/ 228600 w 6316134"/>
                <a:gd name="connsiteY1" fmla="*/ 0 h 3090333"/>
                <a:gd name="connsiteX2" fmla="*/ 423334 w 6316134"/>
                <a:gd name="connsiteY2" fmla="*/ 8467 h 3090333"/>
                <a:gd name="connsiteX3" fmla="*/ 592667 w 6316134"/>
                <a:gd name="connsiteY3" fmla="*/ 16933 h 3090333"/>
                <a:gd name="connsiteX4" fmla="*/ 745067 w 6316134"/>
                <a:gd name="connsiteY4" fmla="*/ 16933 h 3090333"/>
                <a:gd name="connsiteX5" fmla="*/ 922867 w 6316134"/>
                <a:gd name="connsiteY5" fmla="*/ 25400 h 3090333"/>
                <a:gd name="connsiteX6" fmla="*/ 1092200 w 6316134"/>
                <a:gd name="connsiteY6" fmla="*/ 67733 h 3090333"/>
                <a:gd name="connsiteX7" fmla="*/ 1286934 w 6316134"/>
                <a:gd name="connsiteY7" fmla="*/ 110067 h 3090333"/>
                <a:gd name="connsiteX8" fmla="*/ 1667934 w 6316134"/>
                <a:gd name="connsiteY8" fmla="*/ 245533 h 3090333"/>
                <a:gd name="connsiteX9" fmla="*/ 2311400 w 6316134"/>
                <a:gd name="connsiteY9" fmla="*/ 558800 h 3090333"/>
                <a:gd name="connsiteX10" fmla="*/ 3014134 w 6316134"/>
                <a:gd name="connsiteY10" fmla="*/ 889000 h 3090333"/>
                <a:gd name="connsiteX11" fmla="*/ 3970867 w 6316134"/>
                <a:gd name="connsiteY11" fmla="*/ 1447800 h 3090333"/>
                <a:gd name="connsiteX12" fmla="*/ 4817534 w 6316134"/>
                <a:gd name="connsiteY12" fmla="*/ 2032000 h 3090333"/>
                <a:gd name="connsiteX13" fmla="*/ 6316134 w 6316134"/>
                <a:gd name="connsiteY13" fmla="*/ 3090333 h 3090333"/>
                <a:gd name="connsiteX14" fmla="*/ 6316134 w 6316134"/>
                <a:gd name="connsiteY14" fmla="*/ 3090333 h 3090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316134" h="3090333">
                  <a:moveTo>
                    <a:pt x="0" y="0"/>
                  </a:moveTo>
                  <a:lnTo>
                    <a:pt x="228600" y="0"/>
                  </a:lnTo>
                  <a:cubicBezTo>
                    <a:pt x="299156" y="1411"/>
                    <a:pt x="423334" y="8467"/>
                    <a:pt x="423334" y="8467"/>
                  </a:cubicBezTo>
                  <a:cubicBezTo>
                    <a:pt x="484012" y="11289"/>
                    <a:pt x="539045" y="15522"/>
                    <a:pt x="592667" y="16933"/>
                  </a:cubicBezTo>
                  <a:cubicBezTo>
                    <a:pt x="646289" y="18344"/>
                    <a:pt x="690034" y="15522"/>
                    <a:pt x="745067" y="16933"/>
                  </a:cubicBezTo>
                  <a:cubicBezTo>
                    <a:pt x="800100" y="18344"/>
                    <a:pt x="865012" y="16933"/>
                    <a:pt x="922867" y="25400"/>
                  </a:cubicBezTo>
                  <a:cubicBezTo>
                    <a:pt x="980722" y="33867"/>
                    <a:pt x="1031522" y="53622"/>
                    <a:pt x="1092200" y="67733"/>
                  </a:cubicBezTo>
                  <a:cubicBezTo>
                    <a:pt x="1152878" y="81844"/>
                    <a:pt x="1190978" y="80434"/>
                    <a:pt x="1286934" y="110067"/>
                  </a:cubicBezTo>
                  <a:cubicBezTo>
                    <a:pt x="1382890" y="139700"/>
                    <a:pt x="1497190" y="170744"/>
                    <a:pt x="1667934" y="245533"/>
                  </a:cubicBezTo>
                  <a:cubicBezTo>
                    <a:pt x="1838678" y="320322"/>
                    <a:pt x="2311400" y="558800"/>
                    <a:pt x="2311400" y="558800"/>
                  </a:cubicBezTo>
                  <a:cubicBezTo>
                    <a:pt x="2535767" y="666045"/>
                    <a:pt x="2737556" y="740833"/>
                    <a:pt x="3014134" y="889000"/>
                  </a:cubicBezTo>
                  <a:cubicBezTo>
                    <a:pt x="3290712" y="1037167"/>
                    <a:pt x="3670300" y="1257300"/>
                    <a:pt x="3970867" y="1447800"/>
                  </a:cubicBezTo>
                  <a:cubicBezTo>
                    <a:pt x="4271434" y="1638300"/>
                    <a:pt x="4817534" y="2032000"/>
                    <a:pt x="4817534" y="2032000"/>
                  </a:cubicBezTo>
                  <a:lnTo>
                    <a:pt x="6316134" y="3090333"/>
                  </a:lnTo>
                  <a:lnTo>
                    <a:pt x="6316134" y="3090333"/>
                  </a:lnTo>
                </a:path>
              </a:pathLst>
            </a:custGeom>
            <a:ln w="285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</p:grpSp>
    </p:spTree>
    <p:extLst>
      <p:ext uri="{BB962C8B-B14F-4D97-AF65-F5344CB8AC3E}">
        <p14:creationId xmlns:p14="http://schemas.microsoft.com/office/powerpoint/2010/main" val="852854604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514852-48E8-C6AD-A3DD-7DAC0CE313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/>
              <a:t>Bitumin laatuvaatimukset: koveneminen/vanhenemine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D3C7397-6BDA-7BBA-3F51-791B3567DB1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A49F53B-68F7-402D-8883-CC8AD69B34F2}" type="slidenum">
              <a:rPr lang="en-GB" smtClean="0"/>
              <a:pPr/>
              <a:t>15</a:t>
            </a:fld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EF7D56A-82E5-5273-9553-5BE2F35B583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GB"/>
              <a:t>15 March, 2023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A95B610-1103-0BCE-F23D-D9D48D49A8A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©2023 Nynas. All rights reserved.</a:t>
            </a:r>
            <a:endParaRPr lang="sv-SE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EE6DBA1-9826-489C-73B3-8ECEEA2F7EE7}"/>
              </a:ext>
            </a:extLst>
          </p:cNvPr>
          <p:cNvGrpSpPr/>
          <p:nvPr/>
        </p:nvGrpSpPr>
        <p:grpSpPr>
          <a:xfrm>
            <a:off x="670125" y="1166092"/>
            <a:ext cx="5903666" cy="3262949"/>
            <a:chOff x="1073076" y="1517584"/>
            <a:chExt cx="7871554" cy="4350598"/>
          </a:xfrm>
        </p:grpSpPr>
        <p:grpSp>
          <p:nvGrpSpPr>
            <p:cNvPr id="8" name="Group 8">
              <a:extLst>
                <a:ext uri="{FF2B5EF4-FFF2-40B4-BE49-F238E27FC236}">
                  <a16:creationId xmlns:a16="http://schemas.microsoft.com/office/drawing/2014/main" id="{29086B7D-18FC-591C-1DC8-26AA00503279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073076" y="1517584"/>
              <a:ext cx="6975476" cy="4348163"/>
              <a:chOff x="824" y="667"/>
              <a:chExt cx="4394" cy="2739"/>
            </a:xfrm>
          </p:grpSpPr>
          <p:sp>
            <p:nvSpPr>
              <p:cNvPr id="24" name="Line 4">
                <a:extLst>
                  <a:ext uri="{FF2B5EF4-FFF2-40B4-BE49-F238E27FC236}">
                    <a16:creationId xmlns:a16="http://schemas.microsoft.com/office/drawing/2014/main" id="{27305B07-20EC-F3FF-6590-7B0E7F1BF8A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830" y="3224"/>
                <a:ext cx="4388" cy="0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  <a:headEnd/>
                <a:tailEnd type="stealth" w="lg" len="lg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25" name="Line 5">
                <a:extLst>
                  <a:ext uri="{FF2B5EF4-FFF2-40B4-BE49-F238E27FC236}">
                    <a16:creationId xmlns:a16="http://schemas.microsoft.com/office/drawing/2014/main" id="{1A0FB4EA-FDA1-738F-6A7D-077116B41A4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824" y="667"/>
                <a:ext cx="7" cy="2563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  <a:headEnd/>
                <a:tailEnd type="stealth" w="lg" len="lg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endParaRPr lang="en-US" sz="1350"/>
              </a:p>
            </p:txBody>
          </p:sp>
          <p:sp>
            <p:nvSpPr>
              <p:cNvPr id="26" name="Text Box 6">
                <a:extLst>
                  <a:ext uri="{FF2B5EF4-FFF2-40B4-BE49-F238E27FC236}">
                    <a16:creationId xmlns:a16="http://schemas.microsoft.com/office/drawing/2014/main" id="{48A51A86-1856-7868-7E36-92F68C2B8EE6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4542" y="3252"/>
                <a:ext cx="605" cy="15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r>
                  <a:rPr lang="fi-FI" sz="1200" dirty="0"/>
                  <a:t>Lämpötila</a:t>
                </a:r>
                <a:endParaRPr lang="en-US" sz="1200" dirty="0"/>
              </a:p>
            </p:txBody>
          </p:sp>
        </p:grpSp>
        <p:sp>
          <p:nvSpPr>
            <p:cNvPr id="9" name="Text Box 9">
              <a:extLst>
                <a:ext uri="{FF2B5EF4-FFF2-40B4-BE49-F238E27FC236}">
                  <a16:creationId xmlns:a16="http://schemas.microsoft.com/office/drawing/2014/main" id="{8895BA9E-C6BC-01ED-C5DC-DD69035C994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730582" y="5619526"/>
              <a:ext cx="456856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fi-FI" sz="1200" dirty="0"/>
                <a:t>60</a:t>
              </a:r>
              <a:r>
                <a:rPr lang="en-US" sz="1200" dirty="0">
                  <a:cs typeface="Arial" pitchFamily="34" charset="0"/>
                </a:rPr>
                <a:t>°C</a:t>
              </a:r>
            </a:p>
          </p:txBody>
        </p:sp>
        <p:sp>
          <p:nvSpPr>
            <p:cNvPr id="10" name="Text Box 14">
              <a:extLst>
                <a:ext uri="{FF2B5EF4-FFF2-40B4-BE49-F238E27FC236}">
                  <a16:creationId xmlns:a16="http://schemas.microsoft.com/office/drawing/2014/main" id="{21236854-CEAF-C5C3-A906-823CD1CB8B9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316452" y="2194796"/>
              <a:ext cx="2587246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fi-FI" sz="1200" dirty="0"/>
                <a:t>Pehmenemispisteen muutos</a:t>
              </a:r>
              <a:endParaRPr lang="en-US" sz="1200" dirty="0"/>
            </a:p>
          </p:txBody>
        </p:sp>
        <p:sp>
          <p:nvSpPr>
            <p:cNvPr id="11" name="Text Box 9">
              <a:extLst>
                <a:ext uri="{FF2B5EF4-FFF2-40B4-BE49-F238E27FC236}">
                  <a16:creationId xmlns:a16="http://schemas.microsoft.com/office/drawing/2014/main" id="{609FEE89-25CF-F915-30FA-E0AEB760410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423381" y="5620215"/>
              <a:ext cx="525785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fi-FI" sz="1200" dirty="0"/>
                <a:t>-25</a:t>
              </a:r>
              <a:r>
                <a:rPr lang="en-US" sz="1200" dirty="0">
                  <a:cs typeface="Arial" pitchFamily="34" charset="0"/>
                </a:rPr>
                <a:t>°C</a:t>
              </a:r>
            </a:p>
          </p:txBody>
        </p:sp>
        <p:sp>
          <p:nvSpPr>
            <p:cNvPr id="12" name="Text Box 9">
              <a:extLst>
                <a:ext uri="{FF2B5EF4-FFF2-40B4-BE49-F238E27FC236}">
                  <a16:creationId xmlns:a16="http://schemas.microsoft.com/office/drawing/2014/main" id="{6E6E5F77-A345-7A16-4C93-484C032A8EA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277428" y="5619525"/>
              <a:ext cx="570669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fi-FI" sz="1200" dirty="0"/>
                <a:t>135</a:t>
              </a:r>
              <a:r>
                <a:rPr lang="en-US" sz="1200" dirty="0">
                  <a:cs typeface="Arial" pitchFamily="34" charset="0"/>
                </a:rPr>
                <a:t>°C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E02EDCA5-C564-4826-2948-897E350568E1}"/>
                </a:ext>
              </a:extLst>
            </p:cNvPr>
            <p:cNvSpPr txBox="1"/>
            <p:nvPr/>
          </p:nvSpPr>
          <p:spPr>
            <a:xfrm>
              <a:off x="3099205" y="1680389"/>
              <a:ext cx="1859805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i-FI" sz="1200" dirty="0" err="1"/>
                <a:t>Jäännöstunkeuma</a:t>
              </a:r>
              <a:endParaRPr lang="en-US" sz="1200" dirty="0"/>
            </a:p>
          </p:txBody>
        </p:sp>
        <p:cxnSp>
          <p:nvCxnSpPr>
            <p:cNvPr id="14" name="Straight Arrow Connector 13">
              <a:extLst>
                <a:ext uri="{FF2B5EF4-FFF2-40B4-BE49-F238E27FC236}">
                  <a16:creationId xmlns:a16="http://schemas.microsoft.com/office/drawing/2014/main" id="{318BEF3B-AC16-5608-1436-CF839806B49F}"/>
                </a:ext>
              </a:extLst>
            </p:cNvPr>
            <p:cNvCxnSpPr/>
            <p:nvPr/>
          </p:nvCxnSpPr>
          <p:spPr bwMode="auto">
            <a:xfrm flipH="1" flipV="1">
              <a:off x="3001093" y="1911222"/>
              <a:ext cx="8466" cy="253196"/>
            </a:xfrm>
            <a:prstGeom prst="straightConnector1">
              <a:avLst/>
            </a:prstGeom>
            <a:solidFill>
              <a:schemeClr val="accent1"/>
            </a:solidFill>
            <a:ln w="28575" cap="flat" cmpd="sng" algn="ctr">
              <a:solidFill>
                <a:schemeClr val="bg1">
                  <a:lumMod val="65000"/>
                </a:schemeClr>
              </a:solidFill>
              <a:prstDash val="sysDot"/>
              <a:round/>
              <a:headEnd type="none" w="med" len="med"/>
              <a:tailEnd type="arrow" w="med" len="med"/>
            </a:ln>
            <a:effectLst/>
          </p:spPr>
        </p:cxnSp>
        <p:sp>
          <p:nvSpPr>
            <p:cNvPr id="15" name="Text Box 9">
              <a:extLst>
                <a:ext uri="{FF2B5EF4-FFF2-40B4-BE49-F238E27FC236}">
                  <a16:creationId xmlns:a16="http://schemas.microsoft.com/office/drawing/2014/main" id="{BF9C7BDD-B3E0-DAE1-3B07-49D70305363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772665" y="5621961"/>
              <a:ext cx="456856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fi-FI" sz="1200" dirty="0"/>
                <a:t>25</a:t>
              </a:r>
              <a:r>
                <a:rPr lang="en-US" sz="1200" dirty="0">
                  <a:cs typeface="Arial" pitchFamily="34" charset="0"/>
                </a:rPr>
                <a:t>°C</a:t>
              </a:r>
            </a:p>
          </p:txBody>
        </p:sp>
        <p:cxnSp>
          <p:nvCxnSpPr>
            <p:cNvPr id="16" name="Straight Arrow Connector 15">
              <a:extLst>
                <a:ext uri="{FF2B5EF4-FFF2-40B4-BE49-F238E27FC236}">
                  <a16:creationId xmlns:a16="http://schemas.microsoft.com/office/drawing/2014/main" id="{A2C54120-D59B-7CE2-CB24-A6AAB7EFCC8E}"/>
                </a:ext>
              </a:extLst>
            </p:cNvPr>
            <p:cNvCxnSpPr/>
            <p:nvPr/>
          </p:nvCxnSpPr>
          <p:spPr bwMode="auto">
            <a:xfrm rot="5400000" flipV="1">
              <a:off x="4216606" y="2392669"/>
              <a:ext cx="0" cy="409311"/>
            </a:xfrm>
            <a:prstGeom prst="straightConnector1">
              <a:avLst/>
            </a:prstGeom>
            <a:solidFill>
              <a:schemeClr val="accent1"/>
            </a:solidFill>
            <a:ln w="28575" cap="flat" cmpd="sng" algn="ctr">
              <a:solidFill>
                <a:schemeClr val="bg1">
                  <a:lumMod val="65000"/>
                </a:schemeClr>
              </a:solidFill>
              <a:prstDash val="sysDot"/>
              <a:round/>
              <a:headEnd type="none" w="med" len="med"/>
              <a:tailEnd type="arrow" w="med" len="sm"/>
            </a:ln>
            <a:effectLst/>
          </p:spPr>
        </p:cxnSp>
        <p:cxnSp>
          <p:nvCxnSpPr>
            <p:cNvPr id="17" name="Straight Arrow Connector 16">
              <a:extLst>
                <a:ext uri="{FF2B5EF4-FFF2-40B4-BE49-F238E27FC236}">
                  <a16:creationId xmlns:a16="http://schemas.microsoft.com/office/drawing/2014/main" id="{33DC7D5D-323E-535C-35C4-F13655405EA2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5035226" y="2953161"/>
              <a:ext cx="6009" cy="253069"/>
            </a:xfrm>
            <a:prstGeom prst="straightConnector1">
              <a:avLst/>
            </a:prstGeom>
            <a:solidFill>
              <a:schemeClr val="accent1"/>
            </a:solidFill>
            <a:ln w="28575" cap="flat" cmpd="sng" algn="ctr">
              <a:solidFill>
                <a:schemeClr val="bg1">
                  <a:lumMod val="65000"/>
                </a:schemeClr>
              </a:solidFill>
              <a:prstDash val="sysDot"/>
              <a:round/>
              <a:headEnd type="none" w="med" len="med"/>
              <a:tailEnd type="arrow" w="med" len="med"/>
            </a:ln>
            <a:effectLst/>
          </p:spPr>
        </p:cxnSp>
        <p:sp>
          <p:nvSpPr>
            <p:cNvPr id="18" name="Freeform 4">
              <a:extLst>
                <a:ext uri="{FF2B5EF4-FFF2-40B4-BE49-F238E27FC236}">
                  <a16:creationId xmlns:a16="http://schemas.microsoft.com/office/drawing/2014/main" id="{51448EAA-48ED-BC2D-DDB9-6D408B3B62B1}"/>
                </a:ext>
              </a:extLst>
            </p:cNvPr>
            <p:cNvSpPr/>
            <p:nvPr/>
          </p:nvSpPr>
          <p:spPr>
            <a:xfrm>
              <a:off x="1265426" y="1908109"/>
              <a:ext cx="6316134" cy="3090333"/>
            </a:xfrm>
            <a:custGeom>
              <a:avLst/>
              <a:gdLst>
                <a:gd name="connsiteX0" fmla="*/ 0 w 6316134"/>
                <a:gd name="connsiteY0" fmla="*/ 0 h 3090333"/>
                <a:gd name="connsiteX1" fmla="*/ 228600 w 6316134"/>
                <a:gd name="connsiteY1" fmla="*/ 0 h 3090333"/>
                <a:gd name="connsiteX2" fmla="*/ 423334 w 6316134"/>
                <a:gd name="connsiteY2" fmla="*/ 8467 h 3090333"/>
                <a:gd name="connsiteX3" fmla="*/ 592667 w 6316134"/>
                <a:gd name="connsiteY3" fmla="*/ 16933 h 3090333"/>
                <a:gd name="connsiteX4" fmla="*/ 745067 w 6316134"/>
                <a:gd name="connsiteY4" fmla="*/ 16933 h 3090333"/>
                <a:gd name="connsiteX5" fmla="*/ 922867 w 6316134"/>
                <a:gd name="connsiteY5" fmla="*/ 25400 h 3090333"/>
                <a:gd name="connsiteX6" fmla="*/ 1092200 w 6316134"/>
                <a:gd name="connsiteY6" fmla="*/ 67733 h 3090333"/>
                <a:gd name="connsiteX7" fmla="*/ 1286934 w 6316134"/>
                <a:gd name="connsiteY7" fmla="*/ 110067 h 3090333"/>
                <a:gd name="connsiteX8" fmla="*/ 1667934 w 6316134"/>
                <a:gd name="connsiteY8" fmla="*/ 245533 h 3090333"/>
                <a:gd name="connsiteX9" fmla="*/ 2311400 w 6316134"/>
                <a:gd name="connsiteY9" fmla="*/ 558800 h 3090333"/>
                <a:gd name="connsiteX10" fmla="*/ 3014134 w 6316134"/>
                <a:gd name="connsiteY10" fmla="*/ 889000 h 3090333"/>
                <a:gd name="connsiteX11" fmla="*/ 3970867 w 6316134"/>
                <a:gd name="connsiteY11" fmla="*/ 1447800 h 3090333"/>
                <a:gd name="connsiteX12" fmla="*/ 4817534 w 6316134"/>
                <a:gd name="connsiteY12" fmla="*/ 2032000 h 3090333"/>
                <a:gd name="connsiteX13" fmla="*/ 6316134 w 6316134"/>
                <a:gd name="connsiteY13" fmla="*/ 3090333 h 3090333"/>
                <a:gd name="connsiteX14" fmla="*/ 6316134 w 6316134"/>
                <a:gd name="connsiteY14" fmla="*/ 3090333 h 3090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316134" h="3090333">
                  <a:moveTo>
                    <a:pt x="0" y="0"/>
                  </a:moveTo>
                  <a:lnTo>
                    <a:pt x="228600" y="0"/>
                  </a:lnTo>
                  <a:cubicBezTo>
                    <a:pt x="299156" y="1411"/>
                    <a:pt x="423334" y="8467"/>
                    <a:pt x="423334" y="8467"/>
                  </a:cubicBezTo>
                  <a:cubicBezTo>
                    <a:pt x="484012" y="11289"/>
                    <a:pt x="539045" y="15522"/>
                    <a:pt x="592667" y="16933"/>
                  </a:cubicBezTo>
                  <a:cubicBezTo>
                    <a:pt x="646289" y="18344"/>
                    <a:pt x="690034" y="15522"/>
                    <a:pt x="745067" y="16933"/>
                  </a:cubicBezTo>
                  <a:cubicBezTo>
                    <a:pt x="800100" y="18344"/>
                    <a:pt x="865012" y="16933"/>
                    <a:pt x="922867" y="25400"/>
                  </a:cubicBezTo>
                  <a:cubicBezTo>
                    <a:pt x="980722" y="33867"/>
                    <a:pt x="1031522" y="53622"/>
                    <a:pt x="1092200" y="67733"/>
                  </a:cubicBezTo>
                  <a:cubicBezTo>
                    <a:pt x="1152878" y="81844"/>
                    <a:pt x="1190978" y="80434"/>
                    <a:pt x="1286934" y="110067"/>
                  </a:cubicBezTo>
                  <a:cubicBezTo>
                    <a:pt x="1382890" y="139700"/>
                    <a:pt x="1497190" y="170744"/>
                    <a:pt x="1667934" y="245533"/>
                  </a:cubicBezTo>
                  <a:cubicBezTo>
                    <a:pt x="1838678" y="320322"/>
                    <a:pt x="2311400" y="558800"/>
                    <a:pt x="2311400" y="558800"/>
                  </a:cubicBezTo>
                  <a:cubicBezTo>
                    <a:pt x="2535767" y="666045"/>
                    <a:pt x="2737556" y="740833"/>
                    <a:pt x="3014134" y="889000"/>
                  </a:cubicBezTo>
                  <a:cubicBezTo>
                    <a:pt x="3290712" y="1037167"/>
                    <a:pt x="3670300" y="1257300"/>
                    <a:pt x="3970867" y="1447800"/>
                  </a:cubicBezTo>
                  <a:cubicBezTo>
                    <a:pt x="4271434" y="1638300"/>
                    <a:pt x="4817534" y="2032000"/>
                    <a:pt x="4817534" y="2032000"/>
                  </a:cubicBezTo>
                  <a:lnTo>
                    <a:pt x="6316134" y="3090333"/>
                  </a:lnTo>
                  <a:lnTo>
                    <a:pt x="6316134" y="3090333"/>
                  </a:lnTo>
                </a:path>
              </a:pathLst>
            </a:custGeom>
            <a:ln w="285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9" name="Freeform 58">
              <a:extLst>
                <a:ext uri="{FF2B5EF4-FFF2-40B4-BE49-F238E27FC236}">
                  <a16:creationId xmlns:a16="http://schemas.microsoft.com/office/drawing/2014/main" id="{0D0D343D-6A09-FE43-4889-57B61446850D}"/>
                </a:ext>
              </a:extLst>
            </p:cNvPr>
            <p:cNvSpPr/>
            <p:nvPr/>
          </p:nvSpPr>
          <p:spPr>
            <a:xfrm>
              <a:off x="1597919" y="1775504"/>
              <a:ext cx="6316134" cy="3090333"/>
            </a:xfrm>
            <a:custGeom>
              <a:avLst/>
              <a:gdLst>
                <a:gd name="connsiteX0" fmla="*/ 0 w 6316134"/>
                <a:gd name="connsiteY0" fmla="*/ 0 h 3090333"/>
                <a:gd name="connsiteX1" fmla="*/ 228600 w 6316134"/>
                <a:gd name="connsiteY1" fmla="*/ 0 h 3090333"/>
                <a:gd name="connsiteX2" fmla="*/ 423334 w 6316134"/>
                <a:gd name="connsiteY2" fmla="*/ 8467 h 3090333"/>
                <a:gd name="connsiteX3" fmla="*/ 592667 w 6316134"/>
                <a:gd name="connsiteY3" fmla="*/ 16933 h 3090333"/>
                <a:gd name="connsiteX4" fmla="*/ 745067 w 6316134"/>
                <a:gd name="connsiteY4" fmla="*/ 16933 h 3090333"/>
                <a:gd name="connsiteX5" fmla="*/ 922867 w 6316134"/>
                <a:gd name="connsiteY5" fmla="*/ 25400 h 3090333"/>
                <a:gd name="connsiteX6" fmla="*/ 1092200 w 6316134"/>
                <a:gd name="connsiteY6" fmla="*/ 67733 h 3090333"/>
                <a:gd name="connsiteX7" fmla="*/ 1286934 w 6316134"/>
                <a:gd name="connsiteY7" fmla="*/ 110067 h 3090333"/>
                <a:gd name="connsiteX8" fmla="*/ 1667934 w 6316134"/>
                <a:gd name="connsiteY8" fmla="*/ 245533 h 3090333"/>
                <a:gd name="connsiteX9" fmla="*/ 2311400 w 6316134"/>
                <a:gd name="connsiteY9" fmla="*/ 558800 h 3090333"/>
                <a:gd name="connsiteX10" fmla="*/ 3014134 w 6316134"/>
                <a:gd name="connsiteY10" fmla="*/ 889000 h 3090333"/>
                <a:gd name="connsiteX11" fmla="*/ 3970867 w 6316134"/>
                <a:gd name="connsiteY11" fmla="*/ 1447800 h 3090333"/>
                <a:gd name="connsiteX12" fmla="*/ 4817534 w 6316134"/>
                <a:gd name="connsiteY12" fmla="*/ 2032000 h 3090333"/>
                <a:gd name="connsiteX13" fmla="*/ 6316134 w 6316134"/>
                <a:gd name="connsiteY13" fmla="*/ 3090333 h 3090333"/>
                <a:gd name="connsiteX14" fmla="*/ 6316134 w 6316134"/>
                <a:gd name="connsiteY14" fmla="*/ 3090333 h 3090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316134" h="3090333">
                  <a:moveTo>
                    <a:pt x="0" y="0"/>
                  </a:moveTo>
                  <a:lnTo>
                    <a:pt x="228600" y="0"/>
                  </a:lnTo>
                  <a:cubicBezTo>
                    <a:pt x="299156" y="1411"/>
                    <a:pt x="423334" y="8467"/>
                    <a:pt x="423334" y="8467"/>
                  </a:cubicBezTo>
                  <a:cubicBezTo>
                    <a:pt x="484012" y="11289"/>
                    <a:pt x="539045" y="15522"/>
                    <a:pt x="592667" y="16933"/>
                  </a:cubicBezTo>
                  <a:cubicBezTo>
                    <a:pt x="646289" y="18344"/>
                    <a:pt x="690034" y="15522"/>
                    <a:pt x="745067" y="16933"/>
                  </a:cubicBezTo>
                  <a:cubicBezTo>
                    <a:pt x="800100" y="18344"/>
                    <a:pt x="865012" y="16933"/>
                    <a:pt x="922867" y="25400"/>
                  </a:cubicBezTo>
                  <a:cubicBezTo>
                    <a:pt x="980722" y="33867"/>
                    <a:pt x="1031522" y="53622"/>
                    <a:pt x="1092200" y="67733"/>
                  </a:cubicBezTo>
                  <a:cubicBezTo>
                    <a:pt x="1152878" y="81844"/>
                    <a:pt x="1190978" y="80434"/>
                    <a:pt x="1286934" y="110067"/>
                  </a:cubicBezTo>
                  <a:cubicBezTo>
                    <a:pt x="1382890" y="139700"/>
                    <a:pt x="1497190" y="170744"/>
                    <a:pt x="1667934" y="245533"/>
                  </a:cubicBezTo>
                  <a:cubicBezTo>
                    <a:pt x="1838678" y="320322"/>
                    <a:pt x="2311400" y="558800"/>
                    <a:pt x="2311400" y="558800"/>
                  </a:cubicBezTo>
                  <a:cubicBezTo>
                    <a:pt x="2535767" y="666045"/>
                    <a:pt x="2737556" y="740833"/>
                    <a:pt x="3014134" y="889000"/>
                  </a:cubicBezTo>
                  <a:cubicBezTo>
                    <a:pt x="3290712" y="1037167"/>
                    <a:pt x="3670300" y="1257300"/>
                    <a:pt x="3970867" y="1447800"/>
                  </a:cubicBezTo>
                  <a:cubicBezTo>
                    <a:pt x="4271434" y="1638300"/>
                    <a:pt x="4817534" y="2032000"/>
                    <a:pt x="4817534" y="2032000"/>
                  </a:cubicBezTo>
                  <a:lnTo>
                    <a:pt x="6316134" y="3090333"/>
                  </a:lnTo>
                  <a:lnTo>
                    <a:pt x="6316134" y="3090333"/>
                  </a:lnTo>
                </a:path>
              </a:pathLst>
            </a:custGeom>
            <a:ln w="28575">
              <a:solidFill>
                <a:schemeClr val="bg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F3B1D569-BADD-7244-4071-CE77EED631C3}"/>
                </a:ext>
              </a:extLst>
            </p:cNvPr>
            <p:cNvSpPr txBox="1"/>
            <p:nvPr/>
          </p:nvSpPr>
          <p:spPr>
            <a:xfrm>
              <a:off x="6037502" y="4858587"/>
              <a:ext cx="1483099" cy="3385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i-FI" sz="1200" b="1" dirty="0">
                  <a:solidFill>
                    <a:srgbClr val="FF0000"/>
                  </a:solidFill>
                </a:rPr>
                <a:t>Alkuperäinen</a:t>
              </a:r>
              <a:endParaRPr lang="en-US" sz="1200" b="1" dirty="0">
                <a:solidFill>
                  <a:srgbClr val="FF0000"/>
                </a:solidFill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920D7920-62E1-40F5-6FAF-967CDCBA7989}"/>
                </a:ext>
              </a:extLst>
            </p:cNvPr>
            <p:cNvSpPr txBox="1"/>
            <p:nvPr/>
          </p:nvSpPr>
          <p:spPr>
            <a:xfrm>
              <a:off x="7152473" y="4042075"/>
              <a:ext cx="1792157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i-FI" sz="1200" b="1" dirty="0">
                  <a:solidFill>
                    <a:schemeClr val="accent1"/>
                  </a:solidFill>
                </a:rPr>
                <a:t>RTFOT:n jälkeen</a:t>
              </a:r>
              <a:endParaRPr lang="en-US" sz="1200" b="1" dirty="0">
                <a:solidFill>
                  <a:schemeClr val="accent1"/>
                </a:solidFill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A44DF3AB-9297-C4F8-5E77-FC5DE036657D}"/>
                </a:ext>
              </a:extLst>
            </p:cNvPr>
            <p:cNvSpPr txBox="1"/>
            <p:nvPr/>
          </p:nvSpPr>
          <p:spPr>
            <a:xfrm>
              <a:off x="5188680" y="2614606"/>
              <a:ext cx="2346604" cy="338555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fi-FI" sz="1200" dirty="0"/>
                <a:t>Viskositeettisuhde 60°C</a:t>
              </a:r>
              <a:endParaRPr lang="en-US" sz="1200" dirty="0"/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088FAC2B-D5BD-A397-7E3D-0D1A3E8C42AD}"/>
                </a:ext>
              </a:extLst>
            </p:cNvPr>
            <p:cNvSpPr txBox="1"/>
            <p:nvPr/>
          </p:nvSpPr>
          <p:spPr>
            <a:xfrm>
              <a:off x="1243805" y="4310294"/>
              <a:ext cx="4487468" cy="95410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i-FI" sz="1350" dirty="0"/>
                <a:t>Jäännöstunkeuma = </a:t>
              </a:r>
              <a:r>
                <a:rPr lang="fi-FI" sz="1350" dirty="0">
                  <a:solidFill>
                    <a:schemeClr val="accent1"/>
                  </a:solidFill>
                </a:rPr>
                <a:t>Tunk</a:t>
              </a:r>
              <a:r>
                <a:rPr lang="fi-FI" sz="1350" baseline="-25000" dirty="0">
                  <a:solidFill>
                    <a:schemeClr val="accent1"/>
                  </a:solidFill>
                </a:rPr>
                <a:t>RTFOT</a:t>
              </a:r>
              <a:r>
                <a:rPr lang="fi-FI" sz="1350" baseline="-25000" dirty="0"/>
                <a:t> </a:t>
              </a:r>
              <a:r>
                <a:rPr lang="fi-FI" sz="1350" dirty="0"/>
                <a:t>/ </a:t>
              </a:r>
              <a:r>
                <a:rPr lang="fi-FI" sz="1350" dirty="0">
                  <a:solidFill>
                    <a:srgbClr val="FF0000"/>
                  </a:solidFill>
                </a:rPr>
                <a:t>Tunk</a:t>
              </a:r>
              <a:r>
                <a:rPr lang="fi-FI" sz="1350" baseline="-25000" dirty="0">
                  <a:solidFill>
                    <a:srgbClr val="FF0000"/>
                  </a:solidFill>
                </a:rPr>
                <a:t>alkup</a:t>
              </a:r>
              <a:r>
                <a:rPr lang="fi-FI" sz="1350" baseline="-25000" dirty="0"/>
                <a:t> </a:t>
              </a:r>
            </a:p>
            <a:p>
              <a:r>
                <a:rPr lang="fi-FI" sz="1350" dirty="0"/>
                <a:t>Pehm.pisteen muutos = </a:t>
              </a:r>
              <a:r>
                <a:rPr lang="fi-FI" sz="1350" dirty="0">
                  <a:solidFill>
                    <a:schemeClr val="accent1"/>
                  </a:solidFill>
                </a:rPr>
                <a:t>PP</a:t>
              </a:r>
              <a:r>
                <a:rPr lang="fi-FI" sz="1350" baseline="-25000" dirty="0">
                  <a:solidFill>
                    <a:schemeClr val="accent1"/>
                  </a:solidFill>
                </a:rPr>
                <a:t>RTFOT</a:t>
              </a:r>
              <a:r>
                <a:rPr lang="fi-FI" sz="1350" dirty="0"/>
                <a:t> – </a:t>
              </a:r>
              <a:r>
                <a:rPr lang="fi-FI" sz="1350" dirty="0">
                  <a:solidFill>
                    <a:srgbClr val="FF0000"/>
                  </a:solidFill>
                </a:rPr>
                <a:t>PP</a:t>
              </a:r>
              <a:r>
                <a:rPr lang="fi-FI" sz="1350" baseline="-25000" dirty="0">
                  <a:solidFill>
                    <a:srgbClr val="FF0000"/>
                  </a:solidFill>
                </a:rPr>
                <a:t>alkup</a:t>
              </a:r>
            </a:p>
            <a:p>
              <a:r>
                <a:rPr lang="fi-FI" sz="1350" dirty="0"/>
                <a:t>Viskositeettisuhde = </a:t>
              </a:r>
              <a:r>
                <a:rPr lang="fi-FI" sz="1350" dirty="0">
                  <a:solidFill>
                    <a:schemeClr val="accent1"/>
                  </a:solidFill>
                </a:rPr>
                <a:t>Visk</a:t>
              </a:r>
              <a:r>
                <a:rPr lang="fi-FI" sz="1350" baseline="-25000" dirty="0">
                  <a:solidFill>
                    <a:schemeClr val="accent1"/>
                  </a:solidFill>
                </a:rPr>
                <a:t>RTFOT</a:t>
              </a:r>
              <a:r>
                <a:rPr lang="fi-FI" sz="1350" dirty="0"/>
                <a:t> / </a:t>
              </a:r>
              <a:r>
                <a:rPr lang="fi-FI" sz="1350" dirty="0">
                  <a:solidFill>
                    <a:srgbClr val="FF0000"/>
                  </a:solidFill>
                </a:rPr>
                <a:t>Visk</a:t>
              </a:r>
              <a:r>
                <a:rPr lang="fi-FI" sz="1350" baseline="-25000" dirty="0">
                  <a:solidFill>
                    <a:srgbClr val="FF0000"/>
                  </a:solidFill>
                </a:rPr>
                <a:t>alkup</a:t>
              </a:r>
              <a:endParaRPr lang="en-US" sz="1350" baseline="-25000" dirty="0">
                <a:solidFill>
                  <a:srgbClr val="FF0000"/>
                </a:solidFill>
              </a:endParaRPr>
            </a:p>
          </p:txBody>
        </p:sp>
      </p:grp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79AF0AB4-C080-B47E-777E-66A1894B7585}"/>
              </a:ext>
            </a:extLst>
          </p:cNvPr>
          <p:cNvCxnSpPr>
            <a:cxnSpLocks/>
          </p:cNvCxnSpPr>
          <p:nvPr/>
        </p:nvCxnSpPr>
        <p:spPr bwMode="auto">
          <a:xfrm flipH="1">
            <a:off x="3413255" y="1975824"/>
            <a:ext cx="171321" cy="5984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1691643C-009C-4D32-458C-3906E71DC441}"/>
              </a:ext>
            </a:extLst>
          </p:cNvPr>
          <p:cNvCxnSpPr/>
          <p:nvPr/>
        </p:nvCxnSpPr>
        <p:spPr bwMode="auto">
          <a:xfrm rot="5400000">
            <a:off x="3343405" y="1988158"/>
            <a:ext cx="1397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3D7C0146-4424-0385-9B90-BD75DA589F73}"/>
              </a:ext>
            </a:extLst>
          </p:cNvPr>
          <p:cNvCxnSpPr>
            <a:cxnSpLocks/>
          </p:cNvCxnSpPr>
          <p:nvPr/>
        </p:nvCxnSpPr>
        <p:spPr bwMode="auto">
          <a:xfrm flipH="1">
            <a:off x="3639895" y="1988158"/>
            <a:ext cx="6350" cy="200270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879FBA8A-4AA0-7687-0E2D-872024E12986}"/>
              </a:ext>
            </a:extLst>
          </p:cNvPr>
          <p:cNvCxnSpPr/>
          <p:nvPr/>
        </p:nvCxnSpPr>
        <p:spPr bwMode="auto">
          <a:xfrm>
            <a:off x="3576395" y="2188428"/>
            <a:ext cx="1397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34A0880A-574D-B4F9-FCD7-28A8AD2B2988}"/>
              </a:ext>
            </a:extLst>
          </p:cNvPr>
          <p:cNvCxnSpPr>
            <a:cxnSpLocks/>
          </p:cNvCxnSpPr>
          <p:nvPr/>
        </p:nvCxnSpPr>
        <p:spPr bwMode="auto">
          <a:xfrm flipH="1">
            <a:off x="2122488" y="1201846"/>
            <a:ext cx="6350" cy="200270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B71C146C-D1A3-3CA1-9F5E-072BC249B0AE}"/>
              </a:ext>
            </a:extLst>
          </p:cNvPr>
          <p:cNvCxnSpPr/>
          <p:nvPr/>
        </p:nvCxnSpPr>
        <p:spPr bwMode="auto">
          <a:xfrm>
            <a:off x="2058988" y="1402116"/>
            <a:ext cx="1397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" name="Text Box 7">
            <a:extLst>
              <a:ext uri="{FF2B5EF4-FFF2-40B4-BE49-F238E27FC236}">
                <a16:creationId xmlns:a16="http://schemas.microsoft.com/office/drawing/2014/main" id="{4F8A08D0-8E72-D6FB-84FA-987BAB2CF5EF}"/>
              </a:ext>
            </a:extLst>
          </p:cNvPr>
          <p:cNvSpPr txBox="1">
            <a:spLocks noChangeArrowheads="1"/>
          </p:cNvSpPr>
          <p:nvPr/>
        </p:nvSpPr>
        <p:spPr bwMode="auto">
          <a:xfrm rot="16200000">
            <a:off x="-269663" y="2186347"/>
            <a:ext cx="1643862" cy="1848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r>
              <a:rPr lang="fi-FI" sz="1200" dirty="0"/>
              <a:t>Viskositeetti / jäykkyys</a:t>
            </a:r>
            <a:endParaRPr lang="en-US" sz="1200" dirty="0"/>
          </a:p>
        </p:txBody>
      </p:sp>
      <p:sp>
        <p:nvSpPr>
          <p:cNvPr id="28" name="Content Placeholder 47">
            <a:extLst>
              <a:ext uri="{FF2B5EF4-FFF2-40B4-BE49-F238E27FC236}">
                <a16:creationId xmlns:a16="http://schemas.microsoft.com/office/drawing/2014/main" id="{0A8E8495-2784-560D-8E28-964E493BD7D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573791" y="1162261"/>
            <a:ext cx="2384162" cy="2763499"/>
          </a:xfrm>
        </p:spPr>
        <p:txBody>
          <a:bodyPr/>
          <a:lstStyle/>
          <a:p>
            <a:r>
              <a:rPr lang="fi-FI" dirty="0"/>
              <a:t>Asettaa rajat sille, paljonko bitumi saa kovettua lyhytaikaisen vanhennuksen aikana (massan valmistus + levitys)</a:t>
            </a:r>
          </a:p>
          <a:p>
            <a:endParaRPr lang="fi-FI" dirty="0"/>
          </a:p>
          <a:p>
            <a:r>
              <a:rPr lang="fi-FI" dirty="0"/>
              <a:t>Toistaiseksi </a:t>
            </a:r>
            <a:r>
              <a:rPr lang="fi-FI" dirty="0" err="1"/>
              <a:t>pitkäaikaisvanhemiselle</a:t>
            </a:r>
            <a:r>
              <a:rPr lang="fi-FI" dirty="0"/>
              <a:t> ei ole vaatimuksia tuotestandardeissa</a:t>
            </a:r>
          </a:p>
        </p:txBody>
      </p:sp>
    </p:spTree>
    <p:extLst>
      <p:ext uri="{BB962C8B-B14F-4D97-AF65-F5344CB8AC3E}">
        <p14:creationId xmlns:p14="http://schemas.microsoft.com/office/powerpoint/2010/main" val="1889265494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0314C0-77D4-C8E4-774F-320701B876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/>
              <a:t>Laadunvarmistus toimitusketjuss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BD7DAB-87EF-0A22-F620-285AE9AC1E6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A49F53B-68F7-402D-8883-CC8AD69B34F2}" type="slidenum">
              <a:rPr lang="en-GB" smtClean="0"/>
              <a:pPr/>
              <a:t>16</a:t>
            </a:fld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CB42959-B218-1516-E63B-061C9A34E73F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GB"/>
              <a:t>15 March, 2023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99CB15-C0BF-A12F-47CD-71E3312405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2023 Nynas. All rights reserved.</a:t>
            </a:r>
            <a:endParaRPr lang="sv-SE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BF7C2A8-DAA0-8DC0-0276-072CA3AF75FD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fi-FI" dirty="0"/>
              <a:t>Lähtökohta: CE-merkinnän edellyttämät tyyppitestaukset ja tuotestandardin esittämä minimitestaustaajuus sekä valmistajan/jakelijan FPC (</a:t>
            </a:r>
            <a:r>
              <a:rPr lang="fi-FI" dirty="0" err="1"/>
              <a:t>factory</a:t>
            </a:r>
            <a:r>
              <a:rPr lang="fi-FI" dirty="0"/>
              <a:t> </a:t>
            </a:r>
            <a:r>
              <a:rPr lang="fi-FI" dirty="0" err="1"/>
              <a:t>production</a:t>
            </a:r>
            <a:r>
              <a:rPr lang="fi-FI" dirty="0"/>
              <a:t> </a:t>
            </a:r>
            <a:r>
              <a:rPr lang="fi-FI" dirty="0" err="1"/>
              <a:t>control</a:t>
            </a:r>
            <a:r>
              <a:rPr lang="fi-FI"/>
              <a:t>).</a:t>
            </a:r>
            <a:endParaRPr lang="fi-FI" dirty="0"/>
          </a:p>
          <a:p>
            <a:r>
              <a:rPr lang="fi-FI" dirty="0"/>
              <a:t>Laadunvalvontaa tehdään useassa vaiheessa läpi toimitusketjun</a:t>
            </a:r>
          </a:p>
          <a:p>
            <a:pPr lvl="1"/>
            <a:r>
              <a:rPr lang="fi-FI" dirty="0"/>
              <a:t>Valmistuksen laadunvalvonta jalostamolla</a:t>
            </a:r>
          </a:p>
          <a:p>
            <a:pPr lvl="1"/>
            <a:r>
              <a:rPr lang="fi-FI" dirty="0"/>
              <a:t>Laivatoimitukset</a:t>
            </a:r>
          </a:p>
          <a:p>
            <a:pPr lvl="1"/>
            <a:r>
              <a:rPr lang="fi-FI" dirty="0"/>
              <a:t>Varastoinnin aikaiset tarkistusnäytteet</a:t>
            </a:r>
          </a:p>
          <a:p>
            <a:pPr lvl="1"/>
            <a:r>
              <a:rPr lang="fi-FI" dirty="0"/>
              <a:t>Autolastauksen tarkistusnäytteet</a:t>
            </a:r>
          </a:p>
          <a:p>
            <a:r>
              <a:rPr lang="fi-FI" dirty="0"/>
              <a:t>Bitumien sekoittaminen linjasekoittamalla säiliöauton lastauksen yhteydessä tai varastosäiliöissä on yleinen käytäntö jalostamoilla ja jakeluterminaaleilla. Esim.</a:t>
            </a:r>
          </a:p>
          <a:p>
            <a:pPr lvl="1"/>
            <a:r>
              <a:rPr lang="fi-FI" dirty="0"/>
              <a:t>70/100 + 160/220 </a:t>
            </a:r>
            <a:r>
              <a:rPr lang="fi-FI" dirty="0">
                <a:sym typeface="Wingdings" panose="05000000000000000000" pitchFamily="2" charset="2"/>
              </a:rPr>
              <a:t> 100/150 tai </a:t>
            </a:r>
          </a:p>
          <a:p>
            <a:pPr lvl="1"/>
            <a:r>
              <a:rPr lang="fi-FI" dirty="0">
                <a:sym typeface="Wingdings" panose="05000000000000000000" pitchFamily="2" charset="2"/>
              </a:rPr>
              <a:t>160/220 + 650/900  330/340</a:t>
            </a:r>
            <a:endParaRPr lang="fi-FI" dirty="0"/>
          </a:p>
          <a:p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581351221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43F502-C7B2-3376-092F-989F71B5E6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/>
              <a:t>Bitumien sekoittaminen - laadunvarmistu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9136BA0-FA6D-8435-7EEF-95019A4D9CC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A49F53B-68F7-402D-8883-CC8AD69B34F2}" type="slidenum">
              <a:rPr lang="en-GB" smtClean="0"/>
              <a:pPr/>
              <a:t>17</a:t>
            </a:fld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23D8F1A-43FA-B28C-B2F7-4ACD4B4B3398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GB"/>
              <a:t>15 March, 2023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3A622E8-4012-9C45-43B2-0E5058FC6E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2023 Nynas. All rights reserved.</a:t>
            </a:r>
            <a:endParaRPr lang="sv-SE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1845851-FB91-92D9-B32E-ED6D5EE2C59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32001" y="1079999"/>
            <a:ext cx="7594399" cy="3881467"/>
          </a:xfrm>
        </p:spPr>
        <p:txBody>
          <a:bodyPr/>
          <a:lstStyle/>
          <a:p>
            <a:r>
              <a:rPr lang="fi-FI" dirty="0"/>
              <a:t>Sekoituskomponenttien ominaisuuksien perusteella lasketaan sekoitusresepti esim. halutun </a:t>
            </a:r>
            <a:r>
              <a:rPr lang="fi-FI" dirty="0" err="1"/>
              <a:t>tavoitetunkeuman</a:t>
            </a:r>
            <a:r>
              <a:rPr lang="fi-FI" dirty="0"/>
              <a:t> tai -viskositeetin saavuttamiseksi</a:t>
            </a:r>
          </a:p>
          <a:p>
            <a:r>
              <a:rPr lang="fi-FI" dirty="0">
                <a:sym typeface="Wingdings" panose="05000000000000000000" pitchFamily="2" charset="2"/>
              </a:rPr>
              <a:t>Reseptien hallinta</a:t>
            </a:r>
          </a:p>
          <a:p>
            <a:pPr lvl="1"/>
            <a:r>
              <a:rPr lang="fi-FI" dirty="0">
                <a:sym typeface="Wingdings" panose="05000000000000000000" pitchFamily="2" charset="2"/>
              </a:rPr>
              <a:t>Vaikka </a:t>
            </a:r>
            <a:r>
              <a:rPr lang="fi-FI" dirty="0" err="1">
                <a:sym typeface="Wingdings" panose="05000000000000000000" pitchFamily="2" charset="2"/>
              </a:rPr>
              <a:t>tunkeuma</a:t>
            </a:r>
            <a:r>
              <a:rPr lang="fi-FI" dirty="0">
                <a:sym typeface="Wingdings" panose="05000000000000000000" pitchFamily="2" charset="2"/>
              </a:rPr>
              <a:t> on laskennallisesti </a:t>
            </a:r>
            <a:r>
              <a:rPr lang="fi-FI" dirty="0" err="1">
                <a:sym typeface="Wingdings" panose="05000000000000000000" pitchFamily="2" charset="2"/>
              </a:rPr>
              <a:t>spekissä</a:t>
            </a:r>
            <a:r>
              <a:rPr lang="fi-FI" dirty="0">
                <a:sym typeface="Wingdings" panose="05000000000000000000" pitchFamily="2" charset="2"/>
              </a:rPr>
              <a:t>, se ei yksin takaa että kaikki tuotteen ominaisuudet ovat spesifikaation mukaiset!</a:t>
            </a:r>
          </a:p>
          <a:p>
            <a:pPr lvl="1"/>
            <a:r>
              <a:rPr lang="fi-FI" dirty="0">
                <a:sym typeface="Wingdings" panose="05000000000000000000" pitchFamily="2" charset="2"/>
              </a:rPr>
              <a:t>Sekoituskomponenttien ominaisuuksien laaja tuntemus (esim. </a:t>
            </a:r>
            <a:r>
              <a:rPr lang="fi-FI" dirty="0" err="1">
                <a:sym typeface="Wingdings" panose="05000000000000000000" pitchFamily="2" charset="2"/>
              </a:rPr>
              <a:t>tunkeuma</a:t>
            </a:r>
            <a:r>
              <a:rPr lang="fi-FI" dirty="0">
                <a:sym typeface="Wingdings" panose="05000000000000000000" pitchFamily="2" charset="2"/>
              </a:rPr>
              <a:t>-viskositeettisuhde)</a:t>
            </a:r>
          </a:p>
          <a:p>
            <a:pPr lvl="1"/>
            <a:r>
              <a:rPr lang="fi-FI" dirty="0">
                <a:sym typeface="Wingdings" panose="05000000000000000000" pitchFamily="2" charset="2"/>
              </a:rPr>
              <a:t>Laskenta analysoiduilla arvoilla – ei </a:t>
            </a:r>
            <a:r>
              <a:rPr lang="fi-FI" dirty="0" err="1">
                <a:sym typeface="Wingdings" panose="05000000000000000000" pitchFamily="2" charset="2"/>
              </a:rPr>
              <a:t>tunkeumaluokan</a:t>
            </a:r>
            <a:r>
              <a:rPr lang="fi-FI" dirty="0">
                <a:sym typeface="Wingdings" panose="05000000000000000000" pitchFamily="2" charset="2"/>
              </a:rPr>
              <a:t> keskiarvolla</a:t>
            </a:r>
          </a:p>
          <a:p>
            <a:pPr lvl="1"/>
            <a:r>
              <a:rPr lang="fi-FI" dirty="0">
                <a:sym typeface="Wingdings" panose="05000000000000000000" pitchFamily="2" charset="2"/>
              </a:rPr>
              <a:t>Laskennassa käytettävät oletukset ja korrelaatiot tiedostettava ja tutkittava </a:t>
            </a:r>
          </a:p>
          <a:p>
            <a:pPr lvl="1"/>
            <a:r>
              <a:rPr lang="fi-FI" dirty="0">
                <a:sym typeface="Wingdings" panose="05000000000000000000" pitchFamily="2" charset="2"/>
              </a:rPr>
              <a:t>Hallinta on sitä tärkeämpää ja vaikeampaa mitä kauempana sekoituskomponentit ovat toisistaan</a:t>
            </a:r>
          </a:p>
          <a:p>
            <a:r>
              <a:rPr lang="fi-FI" dirty="0">
                <a:sym typeface="Wingdings" panose="05000000000000000000" pitchFamily="2" charset="2"/>
              </a:rPr>
              <a:t>Onnistunut sekoittaminen edellyttää laadunvalvontasuunnitelmaa </a:t>
            </a:r>
          </a:p>
          <a:p>
            <a:pPr lvl="1"/>
            <a:r>
              <a:rPr lang="fi-FI" dirty="0">
                <a:sym typeface="Wingdings" panose="05000000000000000000" pitchFamily="2" charset="2"/>
              </a:rPr>
              <a:t>Reseptien ja laskentamallien varmennus analysoimalla näytteitä</a:t>
            </a:r>
          </a:p>
          <a:p>
            <a:pPr lvl="1"/>
            <a:r>
              <a:rPr lang="fi-FI" dirty="0">
                <a:sym typeface="Wingdings" panose="05000000000000000000" pitchFamily="2" charset="2"/>
              </a:rPr>
              <a:t>Laitteistojen toimintatarkkuus</a:t>
            </a:r>
          </a:p>
          <a:p>
            <a:pPr lvl="1"/>
            <a:endParaRPr lang="fi-FI" dirty="0">
              <a:sym typeface="Wingdings" panose="05000000000000000000" pitchFamily="2" charset="2"/>
            </a:endParaRPr>
          </a:p>
          <a:p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090102696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DDC6CC4-5B00-2678-C996-FB927D3C8CE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862973" y="1981200"/>
            <a:ext cx="4362568" cy="653154"/>
          </a:xfrm>
        </p:spPr>
        <p:txBody>
          <a:bodyPr/>
          <a:lstStyle/>
          <a:p>
            <a:r>
              <a:rPr lang="fi-FI" dirty="0"/>
              <a:t>Vedenkestävyys: tartunta ja </a:t>
            </a:r>
            <a:r>
              <a:rPr lang="fi-FI" dirty="0" err="1"/>
              <a:t>tartukkeet</a:t>
            </a:r>
            <a:endParaRPr lang="fi-FI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39701BA-8EA6-206F-B0B4-170873FE23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A49F53B-68F7-402D-8883-CC8AD69B34F2}" type="slidenum">
              <a:rPr lang="en-GB" smtClean="0"/>
              <a:pPr/>
              <a:t>18</a:t>
            </a:fld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38592A6-ED9C-1095-A87A-EAAA2F17C789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GB"/>
              <a:t>15 March, 2023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A19942E-A60D-3C4B-2F2D-786A203E6BC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2023 Nynas. All rights reserved.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075862856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AB1A3F-03E1-7F5E-A2D9-F1F80B07C5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/>
              <a:t>Päällysteen vedenkestävyy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A69683C-92B8-5630-20A3-6D679F767486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fi-FI" dirty="0"/>
              <a:t>Päällysteen kyky estää vettä tunkeutumasta kiviaineksen ja sideaineen väliin</a:t>
            </a:r>
          </a:p>
          <a:p>
            <a:r>
              <a:rPr lang="fi-FI" dirty="0"/>
              <a:t>Jos kiviainesta peittävä bitumikalvo rikkoutuu, kiviainesrakeen pinta paljastuu</a:t>
            </a:r>
          </a:p>
          <a:p>
            <a:r>
              <a:rPr lang="fi-FI" dirty="0"/>
              <a:t>Kiviaineksen pinta on hydrofiilinen eli vesihakuinen</a:t>
            </a:r>
          </a:p>
          <a:p>
            <a:pPr lvl="1"/>
            <a:r>
              <a:rPr lang="fi-FI" dirty="0"/>
              <a:t>Kiviainesrae peittyy mieluummin vedellä kuin öljyllä</a:t>
            </a:r>
          </a:p>
          <a:p>
            <a:r>
              <a:rPr lang="fi-FI" dirty="0"/>
              <a:t>Vähitellen vesi irrottaa bitumin kiviainesrakeen pinnasta, ja seurauksena on päällysteen purkautuminen</a:t>
            </a:r>
          </a:p>
          <a:p>
            <a:r>
              <a:rPr lang="fi-FI" dirty="0"/>
              <a:t>Riskitekijöitä: alhainen sideainepitoisuus, ohuet bitumikerrokset, epäjatkuvuuskohdat (esim. lajittumat)</a:t>
            </a:r>
          </a:p>
          <a:p>
            <a:r>
              <a:rPr lang="fi-FI" dirty="0"/>
              <a:t>Hyvä vedenkestävyys edellyttää hyvää alkutartuntaa!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8D7D9C-D333-C518-42FA-DA7E65F97E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A49F53B-68F7-402D-8883-CC8AD69B34F2}" type="slidenum">
              <a:rPr lang="en-GB" smtClean="0"/>
              <a:pPr/>
              <a:t>19</a:t>
            </a:fld>
            <a:endParaRPr lang="en-GB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AD78AE2-BFAC-AC68-87C5-F8A6697C675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GB"/>
              <a:t>15 March, 2023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05C40AD-02FA-4958-0E4F-20A60CA55C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2023 Nynas. All rights reserved.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829443452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496515-DA63-880E-EE27-457DA21A0B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/>
              <a:t>Esityksen sisältö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A94C242-A95D-69EE-FD18-18ED2DF251FC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fi-FI" dirty="0"/>
              <a:t>Mitä bitumi on?</a:t>
            </a:r>
          </a:p>
          <a:p>
            <a:r>
              <a:rPr lang="fi-FI" dirty="0"/>
              <a:t>Mikä vaikuttaa ominaisuuksiin?</a:t>
            </a:r>
          </a:p>
          <a:p>
            <a:r>
              <a:rPr lang="fi-FI" dirty="0"/>
              <a:t>Vanheneminen ja vanhentaminen</a:t>
            </a:r>
          </a:p>
          <a:p>
            <a:r>
              <a:rPr lang="fi-FI" dirty="0"/>
              <a:t>Laatuvaatimukset; CE-merkintä ja Asfalttinormit</a:t>
            </a:r>
          </a:p>
          <a:p>
            <a:r>
              <a:rPr lang="fi-FI" dirty="0"/>
              <a:t>Vedenkestävyys, tartunta ja </a:t>
            </a:r>
            <a:r>
              <a:rPr lang="fi-FI" dirty="0" err="1"/>
              <a:t>tartukkeet</a:t>
            </a:r>
            <a:endParaRPr lang="fi-FI" dirty="0"/>
          </a:p>
          <a:p>
            <a:endParaRPr lang="fi-FI" dirty="0"/>
          </a:p>
          <a:p>
            <a:r>
              <a:rPr lang="fi-FI" dirty="0"/>
              <a:t>Esityksessä keskitytään neitseellisiin tiebitumeihin</a:t>
            </a:r>
          </a:p>
          <a:p>
            <a:pPr lvl="1"/>
            <a:r>
              <a:rPr lang="fi-FI" dirty="0"/>
              <a:t>Laatuvaatimuksia ei voi sellaisenaan soveltaa esim. asfalttirouheen sideaineel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ADBB75F-9485-34B0-FD2A-4A12B3B79D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A49F53B-68F7-402D-8883-CC8AD69B34F2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A61C281-40E2-5059-2A8D-842806A5761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GB"/>
              <a:t>15 March, 2023</a:t>
            </a:r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F4B5702-446F-8D3A-4041-CEF7DA5AF2A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dirty="0"/>
              <a:t>©2023 Nynas. All rights reserved.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99311317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8FFD2B-EDDE-5BF0-EE02-DA540249B5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/>
              <a:t>Tartunta kiviaineksee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3B6826B-6E08-C60A-CD4F-9B1BBA5FF1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A49F53B-68F7-402D-8883-CC8AD69B34F2}" type="slidenum">
              <a:rPr lang="en-GB" smtClean="0"/>
              <a:pPr/>
              <a:t>20</a:t>
            </a:fld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C73550-2C3B-E7AA-BB35-BFCBE603097B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GB"/>
              <a:t>15 March, 2023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F9C2E5E-0B27-7596-D406-167A1A39F7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2023 Nynas. All rights reserved.</a:t>
            </a:r>
            <a:endParaRPr lang="sv-SE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B034661-4DDD-0E3B-740D-CC240F944F0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32001" y="1079999"/>
            <a:ext cx="7281749" cy="3825723"/>
          </a:xfrm>
        </p:spPr>
        <p:txBody>
          <a:bodyPr/>
          <a:lstStyle/>
          <a:p>
            <a:r>
              <a:rPr lang="fi-FI" dirty="0"/>
              <a:t>Kiviaineksen ja bitumin yhteensopivuus: kiviaineksen mineralogia ja bitumin kemiallisten ominaisuudet</a:t>
            </a:r>
          </a:p>
          <a:p>
            <a:r>
              <a:rPr lang="fi-FI" dirty="0"/>
              <a:t>Mekaaninen tartunta:</a:t>
            </a:r>
          </a:p>
          <a:p>
            <a:pPr lvl="1"/>
            <a:r>
              <a:rPr lang="fi-FI" dirty="0"/>
              <a:t>Kiviaineksen pinnan tekstuuri, huokoisuus, ominaispinta-ala, puhtaus…</a:t>
            </a:r>
          </a:p>
          <a:p>
            <a:pPr lvl="2"/>
            <a:r>
              <a:rPr lang="fi-FI" dirty="0"/>
              <a:t>Karkeapintainen kiviaines tarjoaa enemmän kiinnittymispintaa, mutta voi olla vaikeampaa saada täydellinen peittoaste</a:t>
            </a:r>
          </a:p>
          <a:p>
            <a:pPr lvl="1"/>
            <a:r>
              <a:rPr lang="fi-FI" dirty="0"/>
              <a:t>Bitumin </a:t>
            </a:r>
            <a:r>
              <a:rPr lang="fi-FI" dirty="0" err="1"/>
              <a:t>reologia</a:t>
            </a:r>
            <a:r>
              <a:rPr lang="fi-FI" dirty="0"/>
              <a:t>; kovalla bitumilla parempi tartuntavoima</a:t>
            </a:r>
          </a:p>
          <a:p>
            <a:r>
              <a:rPr lang="fi-FI" dirty="0"/>
              <a:t>Kosteus:</a:t>
            </a:r>
          </a:p>
          <a:p>
            <a:pPr lvl="1"/>
            <a:r>
              <a:rPr lang="fi-FI" dirty="0"/>
              <a:t>Kiviaineksen hydrofiilisuus</a:t>
            </a:r>
          </a:p>
          <a:p>
            <a:pPr lvl="1"/>
            <a:r>
              <a:rPr lang="fi-FI" dirty="0"/>
              <a:t>Kylminä ja lämpiminä sekoitettavien asfalttimassojen osalta vedenkestävyyden varmistaminen on erityisen tärkeää, sillä kuumentamaton kiviaines sisältää aina kosteutta.</a:t>
            </a:r>
          </a:p>
          <a:p>
            <a:pPr lvl="1"/>
            <a:endParaRPr lang="fi-FI" dirty="0"/>
          </a:p>
          <a:p>
            <a:pPr lvl="1"/>
            <a:endParaRPr lang="fi-FI" dirty="0"/>
          </a:p>
          <a:p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301331734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532561-0F38-4AE4-A61D-A5A87050D4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err="1"/>
              <a:t>Tartukkeet</a:t>
            </a:r>
            <a:endParaRPr lang="fi-FI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4DF471F-41B9-C22E-3DAE-294EA7B2E40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A49F53B-68F7-402D-8883-CC8AD69B34F2}" type="slidenum">
              <a:rPr lang="en-GB" smtClean="0"/>
              <a:pPr/>
              <a:t>21</a:t>
            </a:fld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20F4B32-EBF2-58CF-B903-5D5EB3630F8F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GB"/>
              <a:t>15 March, 2023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02E3BFB-ED0C-9195-E966-3A5ADB8015A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2023 Nynas. All rights reserved.</a:t>
            </a:r>
            <a:endParaRPr lang="sv-SE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1D9CADC-3B62-DE9B-D643-BF4BEBE4B9A0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fi-FI" dirty="0" err="1"/>
              <a:t>Tartukkeella</a:t>
            </a:r>
            <a:r>
              <a:rPr lang="fi-FI" dirty="0"/>
              <a:t> pyritään parantamaan sideaineen ja kiviaineksen välistä tartuntaa; edesauttaa tartunnan syntymistä ja/tai ylläpitää tartuntaa</a:t>
            </a:r>
          </a:p>
          <a:p>
            <a:pPr lvl="1"/>
            <a:r>
              <a:rPr lang="fi-FI" dirty="0"/>
              <a:t>Paljon erityyppisiä tuotteita markkinoilla, ja annostelut vaihtelevat merkittävästi</a:t>
            </a:r>
          </a:p>
          <a:p>
            <a:r>
              <a:rPr lang="fi-FI" dirty="0"/>
              <a:t>Aktiiviset </a:t>
            </a:r>
            <a:r>
              <a:rPr lang="fi-FI" dirty="0" err="1"/>
              <a:t>tartukkeet</a:t>
            </a:r>
            <a:r>
              <a:rPr lang="fi-FI" dirty="0"/>
              <a:t>: </a:t>
            </a:r>
          </a:p>
          <a:p>
            <a:pPr lvl="1"/>
            <a:r>
              <a:rPr lang="fi-FI" dirty="0"/>
              <a:t>Syrjäyttävät veden kiviaineksen pinnalta</a:t>
            </a:r>
          </a:p>
          <a:p>
            <a:pPr lvl="1"/>
            <a:r>
              <a:rPr lang="fi-FI" dirty="0"/>
              <a:t>Mahdollistavat hyvän peittoasteen ja alkutartunnan, mutta eivät välttämättä tarjoa pitkäaikaista vaikutusta</a:t>
            </a:r>
          </a:p>
          <a:p>
            <a:pPr lvl="1"/>
            <a:r>
              <a:rPr lang="fi-FI" dirty="0"/>
              <a:t>Paras hyöty: kylmä/matalalämpösovellukset, turboasemat (matala sekoituslämpötila, kostea kiviaines)</a:t>
            </a:r>
          </a:p>
          <a:p>
            <a:pPr lvl="1"/>
            <a:r>
              <a:rPr lang="fi-FI" dirty="0"/>
              <a:t>Esim. amiinit</a:t>
            </a:r>
          </a:p>
          <a:p>
            <a:pPr lvl="1"/>
            <a:endParaRPr lang="fi-FI" dirty="0"/>
          </a:p>
          <a:p>
            <a:pPr marL="178593" lvl="1" indent="0">
              <a:buNone/>
            </a:pPr>
            <a:endParaRPr lang="fi-FI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915420F-BD28-520F-13DB-D9D7C406EAB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2202"/>
          <a:stretch/>
        </p:blipFill>
        <p:spPr>
          <a:xfrm>
            <a:off x="1203290" y="3424903"/>
            <a:ext cx="4235272" cy="1216217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CC856EDA-B171-5980-DE98-5F6275AAA7AA}"/>
              </a:ext>
            </a:extLst>
          </p:cNvPr>
          <p:cNvSpPr txBox="1"/>
          <p:nvPr/>
        </p:nvSpPr>
        <p:spPr>
          <a:xfrm>
            <a:off x="1357313" y="4457700"/>
            <a:ext cx="3071812" cy="27272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endParaRPr lang="fi-FI" sz="1200" dirty="0" err="1">
              <a:solidFill>
                <a:srgbClr val="3C3C3C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083FD14-650A-7685-2977-E836208356EA}"/>
              </a:ext>
            </a:extLst>
          </p:cNvPr>
          <p:cNvSpPr txBox="1"/>
          <p:nvPr/>
        </p:nvSpPr>
        <p:spPr>
          <a:xfrm>
            <a:off x="2128603" y="4641120"/>
            <a:ext cx="5658084" cy="20665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fi-FI" sz="800" dirty="0">
                <a:solidFill>
                  <a:srgbClr val="3C3C3C"/>
                </a:solidFill>
              </a:rPr>
              <a:t>Kuva: Rossi et al. 2017 </a:t>
            </a:r>
            <a:r>
              <a:rPr lang="fi-FI" sz="800" dirty="0" err="1">
                <a:solidFill>
                  <a:srgbClr val="3C3C3C"/>
                </a:solidFill>
              </a:rPr>
              <a:t>Adhesion</a:t>
            </a:r>
            <a:r>
              <a:rPr lang="fi-FI" sz="800" dirty="0">
                <a:solidFill>
                  <a:srgbClr val="3C3C3C"/>
                </a:solidFill>
              </a:rPr>
              <a:t> </a:t>
            </a:r>
            <a:r>
              <a:rPr lang="fi-FI" sz="800" dirty="0" err="1">
                <a:solidFill>
                  <a:srgbClr val="3C3C3C"/>
                </a:solidFill>
              </a:rPr>
              <a:t>promoters</a:t>
            </a:r>
            <a:r>
              <a:rPr lang="fi-FI" sz="800" dirty="0">
                <a:solidFill>
                  <a:srgbClr val="3C3C3C"/>
                </a:solidFill>
              </a:rPr>
              <a:t> in </a:t>
            </a:r>
            <a:r>
              <a:rPr lang="fi-FI" sz="800" dirty="0" err="1">
                <a:solidFill>
                  <a:srgbClr val="3C3C3C"/>
                </a:solidFill>
              </a:rPr>
              <a:t>Bituminous</a:t>
            </a:r>
            <a:r>
              <a:rPr lang="fi-FI" sz="800" dirty="0">
                <a:solidFill>
                  <a:srgbClr val="3C3C3C"/>
                </a:solidFill>
              </a:rPr>
              <a:t> Road </a:t>
            </a:r>
            <a:r>
              <a:rPr lang="fi-FI" sz="800" dirty="0" err="1">
                <a:solidFill>
                  <a:srgbClr val="3C3C3C"/>
                </a:solidFill>
              </a:rPr>
              <a:t>Materials</a:t>
            </a:r>
            <a:r>
              <a:rPr lang="fi-FI" sz="800" dirty="0">
                <a:solidFill>
                  <a:srgbClr val="3C3C3C"/>
                </a:solidFill>
              </a:rPr>
              <a:t>: </a:t>
            </a:r>
            <a:r>
              <a:rPr lang="fi-FI" sz="800" dirty="0" err="1">
                <a:solidFill>
                  <a:srgbClr val="3C3C3C"/>
                </a:solidFill>
              </a:rPr>
              <a:t>Review</a:t>
            </a:r>
            <a:r>
              <a:rPr lang="fi-FI" sz="800" dirty="0">
                <a:solidFill>
                  <a:srgbClr val="3C3C3C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22925947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532561-0F38-4AE4-A61D-A5A87050D4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err="1"/>
              <a:t>Tartukkeet</a:t>
            </a:r>
            <a:endParaRPr lang="fi-FI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4DF471F-41B9-C22E-3DAE-294EA7B2E40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A49F53B-68F7-402D-8883-CC8AD69B34F2}" type="slidenum">
              <a:rPr lang="en-GB" smtClean="0"/>
              <a:pPr/>
              <a:t>22</a:t>
            </a:fld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20F4B32-EBF2-58CF-B903-5D5EB3630F8F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GB"/>
              <a:t>15 March, 2023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02E3BFB-ED0C-9195-E966-3A5ADB8015A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2023 Nynas. All rights reserved.</a:t>
            </a:r>
            <a:endParaRPr lang="sv-SE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1D9CADC-3B62-DE9B-D643-BF4BEBE4B9A0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fi-FI" dirty="0"/>
              <a:t>Passiiviset </a:t>
            </a:r>
            <a:r>
              <a:rPr lang="fi-FI" dirty="0" err="1"/>
              <a:t>tartukkeet</a:t>
            </a:r>
            <a:r>
              <a:rPr lang="fi-FI" dirty="0"/>
              <a:t>: </a:t>
            </a:r>
          </a:p>
          <a:p>
            <a:pPr lvl="1"/>
            <a:r>
              <a:rPr lang="fi-FI" dirty="0"/>
              <a:t>Vahvistavat kiviaineksen ja bitumin välistä sidosta ja siten parantavat päällysteen vedenkestävyyttä</a:t>
            </a:r>
          </a:p>
          <a:p>
            <a:pPr lvl="1"/>
            <a:r>
              <a:rPr lang="fi-FI" dirty="0"/>
              <a:t>Eivät aktiivisesti pysty syrjäyttämään vettä rajapinnalta </a:t>
            </a:r>
            <a:r>
              <a:rPr lang="fi-FI" dirty="0">
                <a:sym typeface="Wingdings" panose="05000000000000000000" pitchFamily="2" charset="2"/>
              </a:rPr>
              <a:t> vaatii kuivan kiviaineksen (kuumasekoitteiset asfalttimassat)</a:t>
            </a:r>
            <a:endParaRPr lang="fi-FI" dirty="0"/>
          </a:p>
          <a:p>
            <a:pPr lvl="1"/>
            <a:r>
              <a:rPr lang="fi-FI" dirty="0"/>
              <a:t>Esim. </a:t>
            </a:r>
            <a:r>
              <a:rPr lang="fi-FI" dirty="0" err="1"/>
              <a:t>silaanipohjaiset</a:t>
            </a:r>
            <a:r>
              <a:rPr lang="fi-FI" dirty="0"/>
              <a:t> </a:t>
            </a:r>
            <a:r>
              <a:rPr lang="fi-FI" dirty="0" err="1"/>
              <a:t>tartukkeet</a:t>
            </a:r>
            <a:endParaRPr lang="fi-FI" dirty="0"/>
          </a:p>
          <a:p>
            <a:r>
              <a:rPr lang="fi-FI" dirty="0" err="1"/>
              <a:t>Yhdistelmätartukkeet</a:t>
            </a:r>
            <a:r>
              <a:rPr lang="fi-FI" dirty="0"/>
              <a:t>; sekä aktiivisia että passiivisia ominaisuuksia</a:t>
            </a:r>
          </a:p>
          <a:p>
            <a:pPr lvl="1"/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905844129"/>
      </p:ext>
    </p:extLst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ubrik 13"/>
          <p:cNvSpPr txBox="1">
            <a:spLocks/>
          </p:cNvSpPr>
          <p:nvPr/>
        </p:nvSpPr>
        <p:spPr>
          <a:xfrm>
            <a:off x="2717438" y="2300151"/>
            <a:ext cx="3800384" cy="421556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b="0" kern="1200">
                <a:solidFill>
                  <a:srgbClr val="4D4D4D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 algn="ctr"/>
            <a:r>
              <a:rPr lang="en-GB" sz="1500" b="1" dirty="0">
                <a:solidFill>
                  <a:srgbClr val="3C3C3C"/>
                </a:solidFill>
              </a:rPr>
              <a:t>TAKING OIL FURTHER</a:t>
            </a:r>
          </a:p>
          <a:p>
            <a:pPr lvl="0" algn="ctr"/>
            <a:endParaRPr lang="en-GB" sz="1500" b="1" dirty="0">
              <a:solidFill>
                <a:srgbClr val="3C3C3C"/>
              </a:solidFill>
            </a:endParaRPr>
          </a:p>
          <a:p>
            <a:pPr lvl="0" algn="ctr"/>
            <a:r>
              <a:rPr lang="en-GB" sz="1500" dirty="0">
                <a:solidFill>
                  <a:srgbClr val="3C3C3C"/>
                </a:solidFill>
              </a:rPr>
              <a:t>We take oil further to bring lasting value </a:t>
            </a:r>
            <a:br>
              <a:rPr lang="en-GB" sz="1500" dirty="0">
                <a:solidFill>
                  <a:srgbClr val="3C3C3C"/>
                </a:solidFill>
              </a:rPr>
            </a:br>
            <a:r>
              <a:rPr lang="en-GB" sz="1500" dirty="0">
                <a:solidFill>
                  <a:srgbClr val="3C3C3C"/>
                </a:solidFill>
              </a:rPr>
              <a:t>to customers and the world we live in.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05A6EA7-0E91-D822-4FD2-0F1CD038EFF7}"/>
              </a:ext>
            </a:extLst>
          </p:cNvPr>
          <p:cNvSpPr txBox="1"/>
          <p:nvPr/>
        </p:nvSpPr>
        <p:spPr>
          <a:xfrm>
            <a:off x="2555784" y="645244"/>
            <a:ext cx="4038600" cy="55033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/>
            <a:r>
              <a:rPr lang="fi-FI" sz="3600" dirty="0">
                <a:solidFill>
                  <a:srgbClr val="3C3C3C"/>
                </a:solidFill>
              </a:rPr>
              <a:t>Kiitos!</a:t>
            </a:r>
          </a:p>
        </p:txBody>
      </p:sp>
    </p:spTree>
    <p:extLst>
      <p:ext uri="{BB962C8B-B14F-4D97-AF65-F5344CB8AC3E}">
        <p14:creationId xmlns:p14="http://schemas.microsoft.com/office/powerpoint/2010/main" val="401021888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A8F97F-39EE-0484-E950-32548F57C3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/>
              <a:t>Mitä bitumi on?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799CB54-CE9D-21CF-F189-8C478BA9944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A49F53B-68F7-402D-8883-CC8AD69B34F2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FA4B989-DC18-A697-62FC-D396AF14EE5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GB"/>
              <a:t>15 March, 2023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094382C-4165-BF30-3949-5A3A1FC57E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2023 Nynas. All rights reserved.</a:t>
            </a:r>
            <a:endParaRPr lang="sv-SE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C85D379-3DA5-BC21-D7DD-CEC8A70E551C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fi-FI" dirty="0"/>
              <a:t>Raakaöljyn tislauksen raskas lopputuote</a:t>
            </a:r>
          </a:p>
          <a:p>
            <a:r>
              <a:rPr lang="fi-FI" dirty="0"/>
              <a:t>Monimuotoisten hiilivetyjen seos</a:t>
            </a:r>
          </a:p>
          <a:p>
            <a:r>
              <a:rPr lang="fi-FI" dirty="0"/>
              <a:t>Väri vaihtelee tummanruskeasta mustaan</a:t>
            </a:r>
          </a:p>
          <a:p>
            <a:r>
              <a:rPr lang="fi-FI" dirty="0"/>
              <a:t>Kemiallisesti hyvin inertti materiaali</a:t>
            </a:r>
          </a:p>
          <a:p>
            <a:r>
              <a:rPr lang="fi-FI" dirty="0"/>
              <a:t>Alhainen lämmönjohtokyky</a:t>
            </a:r>
          </a:p>
          <a:p>
            <a:r>
              <a:rPr lang="fi-FI" dirty="0"/>
              <a:t>Monipuolinen rakennusmateriaali, useita käyttökohteita; asfaltointi, bitumikatteet, vedeneristys…</a:t>
            </a:r>
          </a:p>
          <a:p>
            <a:r>
              <a:rPr lang="fi-FI" dirty="0"/>
              <a:t>Kuljetetaan, varastoidaan ja käytetään kohotetuissa lämpötiloissa</a:t>
            </a:r>
          </a:p>
          <a:p>
            <a:pPr lvl="1"/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067783021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4075AD-220C-4C95-323C-F8846F61AA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1" y="388066"/>
            <a:ext cx="7281749" cy="432000"/>
          </a:xfrm>
        </p:spPr>
        <p:txBody>
          <a:bodyPr/>
          <a:lstStyle/>
          <a:p>
            <a:r>
              <a:rPr lang="fi-FI" dirty="0"/>
              <a:t>Bitumi on </a:t>
            </a:r>
            <a:r>
              <a:rPr lang="fi-FI" dirty="0" err="1"/>
              <a:t>viskoelastinen</a:t>
            </a:r>
            <a:r>
              <a:rPr lang="fi-FI" dirty="0"/>
              <a:t> materiaali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A9BB737-9E76-D2B3-E9DE-ECA810BFF9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A49F53B-68F7-402D-8883-CC8AD69B34F2}" type="slidenum">
              <a:rPr lang="en-GB" smtClean="0"/>
              <a:pPr/>
              <a:t>4</a:t>
            </a:fld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0C4EBE6-E7D6-63CF-8D02-4908B9CC57B5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GB"/>
              <a:t>15 March, 2023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B7FE26-CADA-D86C-1307-251F07409E3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2023 Nynas. All rights reserved.</a:t>
            </a:r>
            <a:endParaRPr lang="sv-SE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EC64A29-5392-262A-5BD0-AE49B1C82C49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fi-FI" dirty="0"/>
              <a:t>Jäykkyys riippuu lämpötilasta ja kuormitustaajuudesta</a:t>
            </a:r>
          </a:p>
          <a:p>
            <a:pPr lvl="1"/>
            <a:r>
              <a:rPr lang="fi-FI" dirty="0"/>
              <a:t>Alhaisissa lämpötiloissa tai lyhyillä kuormitusajoilla hyvin jäykkä/kiinteä</a:t>
            </a:r>
          </a:p>
          <a:p>
            <a:pPr lvl="1"/>
            <a:r>
              <a:rPr lang="fi-FI" dirty="0"/>
              <a:t>Korkeissa lämpötiloissa tai pitkillä kuormitusajoilla juokseva neste</a:t>
            </a:r>
          </a:p>
          <a:p>
            <a:r>
              <a:rPr lang="fi-FI" dirty="0"/>
              <a:t>Valmistetaan eri jäykkyyksiin; luokitellaan </a:t>
            </a:r>
            <a:r>
              <a:rPr lang="fi-FI" dirty="0" err="1"/>
              <a:t>tunkeuman</a:t>
            </a:r>
            <a:r>
              <a:rPr lang="fi-FI" dirty="0"/>
              <a:t> tai viskositeetin perusteella</a:t>
            </a:r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8178668F-6C3A-335B-D53B-641C4A78FC99}"/>
              </a:ext>
            </a:extLst>
          </p:cNvPr>
          <p:cNvGrpSpPr/>
          <p:nvPr/>
        </p:nvGrpSpPr>
        <p:grpSpPr>
          <a:xfrm>
            <a:off x="1620363" y="2330508"/>
            <a:ext cx="4585706" cy="2389299"/>
            <a:chOff x="946151" y="760413"/>
            <a:chExt cx="7326313" cy="4764087"/>
          </a:xfrm>
        </p:grpSpPr>
        <p:grpSp>
          <p:nvGrpSpPr>
            <p:cNvPr id="57" name="Group 8">
              <a:extLst>
                <a:ext uri="{FF2B5EF4-FFF2-40B4-BE49-F238E27FC236}">
                  <a16:creationId xmlns:a16="http://schemas.microsoft.com/office/drawing/2014/main" id="{7EE58B92-113B-B3C1-9B5F-D8C813B46AAE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946151" y="1082675"/>
              <a:ext cx="7326313" cy="4441825"/>
              <a:chOff x="603" y="667"/>
              <a:chExt cx="4615" cy="2798"/>
            </a:xfrm>
          </p:grpSpPr>
          <p:sp>
            <p:nvSpPr>
              <p:cNvPr id="67" name="Line 4">
                <a:extLst>
                  <a:ext uri="{FF2B5EF4-FFF2-40B4-BE49-F238E27FC236}">
                    <a16:creationId xmlns:a16="http://schemas.microsoft.com/office/drawing/2014/main" id="{B4852C63-1FA7-6568-77E6-CC87DC3905B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830" y="3224"/>
                <a:ext cx="4388" cy="0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  <a:headEnd/>
                <a:tailEnd type="stealth" w="lg" len="lg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endParaRPr lang="en-US"/>
              </a:p>
            </p:txBody>
          </p:sp>
          <p:sp>
            <p:nvSpPr>
              <p:cNvPr id="68" name="Line 5">
                <a:extLst>
                  <a:ext uri="{FF2B5EF4-FFF2-40B4-BE49-F238E27FC236}">
                    <a16:creationId xmlns:a16="http://schemas.microsoft.com/office/drawing/2014/main" id="{FCFE8E20-4A40-D5B9-3BA3-1C2E6182D39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824" y="667"/>
                <a:ext cx="7" cy="2563"/>
              </a:xfrm>
              <a:prstGeom prst="line">
                <a:avLst/>
              </a:prstGeom>
              <a:noFill/>
              <a:ln w="28575">
                <a:solidFill>
                  <a:schemeClr val="tx1"/>
                </a:solidFill>
                <a:round/>
                <a:headEnd/>
                <a:tailEnd type="stealth" w="lg" len="lg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lIns="0" tIns="0" rIns="0" bIns="0"/>
              <a:lstStyle/>
              <a:p>
                <a:endParaRPr lang="en-US"/>
              </a:p>
            </p:txBody>
          </p:sp>
          <p:sp>
            <p:nvSpPr>
              <p:cNvPr id="69" name="Text Box 6">
                <a:extLst>
                  <a:ext uri="{FF2B5EF4-FFF2-40B4-BE49-F238E27FC236}">
                    <a16:creationId xmlns:a16="http://schemas.microsoft.com/office/drawing/2014/main" id="{5090D510-41FA-E215-3DEE-AF18D652D5BB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4466" y="3252"/>
                <a:ext cx="616" cy="21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r>
                  <a:rPr lang="fi-FI" altLang="en-US" sz="1100" dirty="0"/>
                  <a:t>Lämpötila</a:t>
                </a:r>
                <a:endParaRPr lang="en-US" altLang="en-US" sz="1100" dirty="0"/>
              </a:p>
            </p:txBody>
          </p:sp>
          <p:sp>
            <p:nvSpPr>
              <p:cNvPr id="70" name="Text Box 7">
                <a:extLst>
                  <a:ext uri="{FF2B5EF4-FFF2-40B4-BE49-F238E27FC236}">
                    <a16:creationId xmlns:a16="http://schemas.microsoft.com/office/drawing/2014/main" id="{482740DD-F9AB-EC7A-6614-6FCF77BC2E17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 rot="16200000">
                <a:off x="215" y="1145"/>
                <a:ext cx="946" cy="17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r>
                  <a:rPr lang="fi-FI" altLang="en-US" sz="1100" dirty="0"/>
                  <a:t>Viskositeetti</a:t>
                </a:r>
                <a:endParaRPr lang="en-US" altLang="en-US" sz="1100" dirty="0"/>
              </a:p>
            </p:txBody>
          </p:sp>
          <p:sp>
            <p:nvSpPr>
              <p:cNvPr id="71" name="Text Box 6">
                <a:extLst>
                  <a:ext uri="{FF2B5EF4-FFF2-40B4-BE49-F238E27FC236}">
                    <a16:creationId xmlns:a16="http://schemas.microsoft.com/office/drawing/2014/main" id="{E40F846B-076D-8644-75D0-39A1AD6F6029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4129" y="2186"/>
                <a:ext cx="403" cy="15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r>
                  <a:rPr lang="fi-FI" altLang="en-US" sz="1600" dirty="0"/>
                  <a:t>Bitumi</a:t>
                </a:r>
                <a:endParaRPr lang="en-US" altLang="en-US" sz="1600" dirty="0"/>
              </a:p>
            </p:txBody>
          </p:sp>
        </p:grpSp>
        <p:sp>
          <p:nvSpPr>
            <p:cNvPr id="58" name="Line 16">
              <a:extLst>
                <a:ext uri="{FF2B5EF4-FFF2-40B4-BE49-F238E27FC236}">
                  <a16:creationId xmlns:a16="http://schemas.microsoft.com/office/drawing/2014/main" id="{E98989B4-46C3-FE50-318A-DF237DA004AB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907088" y="5056188"/>
              <a:ext cx="1963737" cy="0"/>
            </a:xfrm>
            <a:prstGeom prst="line">
              <a:avLst/>
            </a:prstGeom>
            <a:noFill/>
            <a:ln w="28575">
              <a:solidFill>
                <a:srgbClr val="0066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59" name="Line 17">
              <a:extLst>
                <a:ext uri="{FF2B5EF4-FFF2-40B4-BE49-F238E27FC236}">
                  <a16:creationId xmlns:a16="http://schemas.microsoft.com/office/drawing/2014/main" id="{A8D48278-71DF-16F6-3FA8-B193ED33D5B9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2616200" y="4581525"/>
              <a:ext cx="3325813" cy="7938"/>
            </a:xfrm>
            <a:prstGeom prst="line">
              <a:avLst/>
            </a:prstGeom>
            <a:noFill/>
            <a:ln w="28575">
              <a:solidFill>
                <a:srgbClr val="0066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0" name="Line 18">
              <a:extLst>
                <a:ext uri="{FF2B5EF4-FFF2-40B4-BE49-F238E27FC236}">
                  <a16:creationId xmlns:a16="http://schemas.microsoft.com/office/drawing/2014/main" id="{51C3FAB3-84C8-C4AB-5B93-48A0E18A488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344613" y="760413"/>
              <a:ext cx="1254125" cy="1587"/>
            </a:xfrm>
            <a:prstGeom prst="line">
              <a:avLst/>
            </a:prstGeom>
            <a:noFill/>
            <a:ln w="28575">
              <a:solidFill>
                <a:srgbClr val="0066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1" name="Line 19">
              <a:extLst>
                <a:ext uri="{FF2B5EF4-FFF2-40B4-BE49-F238E27FC236}">
                  <a16:creationId xmlns:a16="http://schemas.microsoft.com/office/drawing/2014/main" id="{AE475CAB-5675-A631-AC33-D012BE37AD8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608263" y="762000"/>
              <a:ext cx="17462" cy="3810000"/>
            </a:xfrm>
            <a:prstGeom prst="line">
              <a:avLst/>
            </a:prstGeom>
            <a:noFill/>
            <a:ln w="28575">
              <a:solidFill>
                <a:srgbClr val="0066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2" name="Line 20">
              <a:extLst>
                <a:ext uri="{FF2B5EF4-FFF2-40B4-BE49-F238E27FC236}">
                  <a16:creationId xmlns:a16="http://schemas.microsoft.com/office/drawing/2014/main" id="{1CBF431A-51BC-3005-9E80-CC35F8B911D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916613" y="4568825"/>
              <a:ext cx="7937" cy="487363"/>
            </a:xfrm>
            <a:prstGeom prst="line">
              <a:avLst/>
            </a:prstGeom>
            <a:noFill/>
            <a:ln w="28575">
              <a:solidFill>
                <a:srgbClr val="0066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en-US"/>
            </a:p>
          </p:txBody>
        </p:sp>
        <p:sp>
          <p:nvSpPr>
            <p:cNvPr id="63" name="Text Box 21">
              <a:extLst>
                <a:ext uri="{FF2B5EF4-FFF2-40B4-BE49-F238E27FC236}">
                  <a16:creationId xmlns:a16="http://schemas.microsoft.com/office/drawing/2014/main" id="{95A61F6F-BCF4-F81A-1FC7-5BED5EB2648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702300" y="5207000"/>
              <a:ext cx="622300" cy="2444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fi-FI" altLang="en-US" sz="1600">
                  <a:solidFill>
                    <a:srgbClr val="0066FF"/>
                  </a:solidFill>
                </a:rPr>
                <a:t>100 </a:t>
              </a:r>
              <a:r>
                <a:rPr lang="en-US" altLang="en-US" sz="1600">
                  <a:solidFill>
                    <a:srgbClr val="0066FF"/>
                  </a:solidFill>
                  <a:cs typeface="Arial" pitchFamily="34" charset="0"/>
                </a:rPr>
                <a:t>°C</a:t>
              </a:r>
            </a:p>
          </p:txBody>
        </p:sp>
        <p:sp>
          <p:nvSpPr>
            <p:cNvPr id="64" name="Text Box 22">
              <a:extLst>
                <a:ext uri="{FF2B5EF4-FFF2-40B4-BE49-F238E27FC236}">
                  <a16:creationId xmlns:a16="http://schemas.microsoft.com/office/drawing/2014/main" id="{1FECB243-0564-509B-5E9E-B28859472A6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411413" y="5180013"/>
              <a:ext cx="396875" cy="2444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fi-FI" altLang="en-US" sz="1600">
                  <a:solidFill>
                    <a:srgbClr val="0066FF"/>
                  </a:solidFill>
                </a:rPr>
                <a:t>0 </a:t>
              </a:r>
              <a:r>
                <a:rPr lang="en-US" altLang="en-US" sz="1600">
                  <a:solidFill>
                    <a:srgbClr val="0066FF"/>
                  </a:solidFill>
                  <a:cs typeface="Arial" pitchFamily="34" charset="0"/>
                </a:rPr>
                <a:t>°C</a:t>
              </a:r>
            </a:p>
          </p:txBody>
        </p:sp>
        <p:sp>
          <p:nvSpPr>
            <p:cNvPr id="65" name="Text Box 23">
              <a:extLst>
                <a:ext uri="{FF2B5EF4-FFF2-40B4-BE49-F238E27FC236}">
                  <a16:creationId xmlns:a16="http://schemas.microsoft.com/office/drawing/2014/main" id="{6E5425CA-1382-0D56-E80B-03CC192FE48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925888" y="4052093"/>
              <a:ext cx="382589" cy="2444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fi-FI" altLang="en-US" sz="1600" dirty="0">
                  <a:solidFill>
                    <a:srgbClr val="0066FF"/>
                  </a:solidFill>
                </a:rPr>
                <a:t>H</a:t>
              </a:r>
              <a:r>
                <a:rPr lang="fi-FI" altLang="en-US" sz="1600" baseline="-25000" dirty="0">
                  <a:solidFill>
                    <a:srgbClr val="0066FF"/>
                  </a:solidFill>
                </a:rPr>
                <a:t>2</a:t>
              </a:r>
              <a:r>
                <a:rPr lang="fi-FI" altLang="en-US" sz="1600" dirty="0">
                  <a:solidFill>
                    <a:srgbClr val="0066FF"/>
                  </a:solidFill>
                </a:rPr>
                <a:t>O</a:t>
              </a:r>
              <a:endParaRPr lang="en-US" altLang="en-US" sz="1600" dirty="0">
                <a:solidFill>
                  <a:srgbClr val="0066FF"/>
                </a:solidFill>
              </a:endParaRPr>
            </a:p>
          </p:txBody>
        </p:sp>
        <p:sp>
          <p:nvSpPr>
            <p:cNvPr id="66" name="Freeform 2">
              <a:extLst>
                <a:ext uri="{FF2B5EF4-FFF2-40B4-BE49-F238E27FC236}">
                  <a16:creationId xmlns:a16="http://schemas.microsoft.com/office/drawing/2014/main" id="{6765F76A-30F1-9A84-981E-FE5B33685ECE}"/>
                </a:ext>
              </a:extLst>
            </p:cNvPr>
            <p:cNvSpPr/>
            <p:nvPr/>
          </p:nvSpPr>
          <p:spPr bwMode="auto">
            <a:xfrm>
              <a:off x="1380067" y="1727200"/>
              <a:ext cx="5731933" cy="2641600"/>
            </a:xfrm>
            <a:custGeom>
              <a:avLst/>
              <a:gdLst>
                <a:gd name="connsiteX0" fmla="*/ 0 w 5731933"/>
                <a:gd name="connsiteY0" fmla="*/ 0 h 2641600"/>
                <a:gd name="connsiteX1" fmla="*/ 397933 w 5731933"/>
                <a:gd name="connsiteY1" fmla="*/ 8467 h 2641600"/>
                <a:gd name="connsiteX2" fmla="*/ 753533 w 5731933"/>
                <a:gd name="connsiteY2" fmla="*/ 42333 h 2641600"/>
                <a:gd name="connsiteX3" fmla="*/ 1261533 w 5731933"/>
                <a:gd name="connsiteY3" fmla="*/ 135467 h 2641600"/>
                <a:gd name="connsiteX4" fmla="*/ 1828800 w 5731933"/>
                <a:gd name="connsiteY4" fmla="*/ 372533 h 2641600"/>
                <a:gd name="connsiteX5" fmla="*/ 2667000 w 5731933"/>
                <a:gd name="connsiteY5" fmla="*/ 829733 h 2641600"/>
                <a:gd name="connsiteX6" fmla="*/ 3539066 w 5731933"/>
                <a:gd name="connsiteY6" fmla="*/ 1346200 h 2641600"/>
                <a:gd name="connsiteX7" fmla="*/ 5731933 w 5731933"/>
                <a:gd name="connsiteY7" fmla="*/ 2641600 h 264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731933" h="2641600">
                  <a:moveTo>
                    <a:pt x="0" y="0"/>
                  </a:moveTo>
                  <a:cubicBezTo>
                    <a:pt x="136172" y="706"/>
                    <a:pt x="272344" y="1412"/>
                    <a:pt x="397933" y="8467"/>
                  </a:cubicBezTo>
                  <a:cubicBezTo>
                    <a:pt x="523522" y="15522"/>
                    <a:pt x="609600" y="21166"/>
                    <a:pt x="753533" y="42333"/>
                  </a:cubicBezTo>
                  <a:cubicBezTo>
                    <a:pt x="897466" y="63500"/>
                    <a:pt x="1082322" y="80434"/>
                    <a:pt x="1261533" y="135467"/>
                  </a:cubicBezTo>
                  <a:cubicBezTo>
                    <a:pt x="1440744" y="190500"/>
                    <a:pt x="1594556" y="256822"/>
                    <a:pt x="1828800" y="372533"/>
                  </a:cubicBezTo>
                  <a:cubicBezTo>
                    <a:pt x="2063044" y="488244"/>
                    <a:pt x="2381956" y="667455"/>
                    <a:pt x="2667000" y="829733"/>
                  </a:cubicBezTo>
                  <a:cubicBezTo>
                    <a:pt x="2952044" y="992011"/>
                    <a:pt x="3539066" y="1346200"/>
                    <a:pt x="3539066" y="1346200"/>
                  </a:cubicBezTo>
                  <a:lnTo>
                    <a:pt x="5731933" y="2641600"/>
                  </a:lnTo>
                </a:path>
              </a:pathLst>
            </a:custGeom>
            <a:noFill/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imes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77380412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521A4C-5F51-4855-6043-66EA123B57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/>
              <a:t>Raakaöljypohja + valmistusprosessi = bitumin ominaisuude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12320A9-B99B-11FE-3031-677B9106F7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A49F53B-68F7-402D-8883-CC8AD69B34F2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BEAFB68-75BD-AADD-9D3D-89A32973A8DF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GB"/>
              <a:t>15 March, 2023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4B63925-8427-1B80-CC6E-7A2BEC9C07C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2023 Nynas. All rights reserved.</a:t>
            </a:r>
            <a:endParaRPr lang="sv-SE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2404909-D756-DC26-45D6-D9EC4BBDAA6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32000" y="1080000"/>
            <a:ext cx="5288005" cy="2958600"/>
          </a:xfrm>
        </p:spPr>
        <p:txBody>
          <a:bodyPr/>
          <a:lstStyle/>
          <a:p>
            <a:r>
              <a:rPr lang="fi-FI" dirty="0"/>
              <a:t>Raakaöljyt ovat hyvin erilaisia esiintymästä riippuen</a:t>
            </a:r>
          </a:p>
          <a:p>
            <a:pPr lvl="1"/>
            <a:r>
              <a:rPr lang="fi-FI" dirty="0"/>
              <a:t>Bitumin saanto vaihtelee</a:t>
            </a:r>
          </a:p>
          <a:p>
            <a:pPr lvl="1"/>
            <a:r>
              <a:rPr lang="fi-FI" dirty="0"/>
              <a:t>Leikkauspiste / kiehumispistealue</a:t>
            </a:r>
          </a:p>
          <a:p>
            <a:pPr lvl="1"/>
            <a:r>
              <a:rPr lang="fi-FI" dirty="0"/>
              <a:t>Kemiallinen koostumus</a:t>
            </a:r>
          </a:p>
          <a:p>
            <a:r>
              <a:rPr lang="fi-FI" dirty="0"/>
              <a:t>Jalostamot ovat keskenään erilaisia</a:t>
            </a:r>
          </a:p>
          <a:p>
            <a:r>
              <a:rPr lang="fi-FI" dirty="0"/>
              <a:t>Sekä raakaöljypohjan, että prosessoinnin ominaispiirteet vaikuttavat lopputuotteen ominaisuuksiin</a:t>
            </a:r>
          </a:p>
          <a:p>
            <a:r>
              <a:rPr lang="fi-FI" dirty="0"/>
              <a:t>Kaksi saman spesifikaation vaatimukset täyttävää bitumia voivat olla erilaisia fysikaalisilta tai kemiallisilta ominaisuuksiltaan; esim.</a:t>
            </a:r>
          </a:p>
          <a:p>
            <a:pPr lvl="2"/>
            <a:r>
              <a:rPr lang="fi-FI" dirty="0"/>
              <a:t>Esim. toisella bitumilla voi olla paremmat kylmäominaisuudet ja toisella vanhenemisominaisuudet </a:t>
            </a:r>
            <a:r>
              <a:rPr lang="fi-FI" dirty="0" err="1"/>
              <a:t>jne</a:t>
            </a:r>
            <a:endParaRPr lang="fi-FI" dirty="0"/>
          </a:p>
          <a:p>
            <a:pPr lvl="2"/>
            <a:r>
              <a:rPr lang="fi-FI" dirty="0"/>
              <a:t>Käytettävyys bitumiemulsion tai </a:t>
            </a:r>
            <a:r>
              <a:rPr lang="fi-FI" dirty="0" err="1"/>
              <a:t>PMB:n</a:t>
            </a:r>
            <a:r>
              <a:rPr lang="fi-FI" dirty="0"/>
              <a:t> valmistamiseen</a:t>
            </a:r>
          </a:p>
        </p:txBody>
      </p:sp>
      <p:pic>
        <p:nvPicPr>
          <p:cNvPr id="7" name="Content Placeholder 1">
            <a:extLst>
              <a:ext uri="{FF2B5EF4-FFF2-40B4-BE49-F238E27FC236}">
                <a16:creationId xmlns:a16="http://schemas.microsoft.com/office/drawing/2014/main" id="{9DECC161-A65F-2385-A38B-5F7FC77EF821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522" r="16421" b="7495"/>
          <a:stretch/>
        </p:blipFill>
        <p:spPr>
          <a:xfrm>
            <a:off x="5926667" y="723906"/>
            <a:ext cx="3217333" cy="44195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6149200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341433-FA65-B074-6DCA-88075F1BD2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/>
              <a:t>Bitumin vanhenemine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8340749-A543-EC4E-92B7-9536B1737B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A49F53B-68F7-402D-8883-CC8AD69B34F2}" type="slidenum">
              <a:rPr lang="en-GB" smtClean="0"/>
              <a:pPr/>
              <a:t>6</a:t>
            </a:fld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23E644-D341-4D7A-48EA-AF725283B9DF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GB"/>
              <a:t>15 March, 2023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2B231D-9427-5EA3-86F2-6C1AAFB7A62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2023 Nynas. All rights reserved.</a:t>
            </a:r>
            <a:endParaRPr lang="sv-SE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64F8B66-495E-20E1-BC0C-7E0299B75CE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32001" y="1079999"/>
            <a:ext cx="7281749" cy="3861455"/>
          </a:xfrm>
        </p:spPr>
        <p:txBody>
          <a:bodyPr/>
          <a:lstStyle/>
          <a:p>
            <a:r>
              <a:rPr lang="fi-FI" dirty="0"/>
              <a:t>Bitumin ominaisuudet muuttuvat ”vanhenemisen” myötä </a:t>
            </a:r>
          </a:p>
          <a:p>
            <a:pPr lvl="1"/>
            <a:r>
              <a:rPr lang="fi-FI" dirty="0"/>
              <a:t>Molekyylipaino kasvaa, viskositeetti kasvaa, bitumista tulee jäykempää</a:t>
            </a:r>
          </a:p>
          <a:p>
            <a:r>
              <a:rPr lang="fi-FI" dirty="0"/>
              <a:t>Vanhenemisen mekanismit</a:t>
            </a:r>
          </a:p>
          <a:p>
            <a:pPr lvl="1"/>
            <a:r>
              <a:rPr lang="fi-FI" dirty="0"/>
              <a:t>Hapettuminen</a:t>
            </a:r>
          </a:p>
          <a:p>
            <a:pPr lvl="1"/>
            <a:r>
              <a:rPr lang="fi-FI" dirty="0"/>
              <a:t>Haihtuminen (pehmeimmät bitumiluokat)</a:t>
            </a:r>
          </a:p>
          <a:p>
            <a:pPr lvl="1"/>
            <a:r>
              <a:rPr lang="fi-FI" dirty="0"/>
              <a:t>UV-säteily</a:t>
            </a:r>
          </a:p>
          <a:p>
            <a:pPr lvl="1"/>
            <a:r>
              <a:rPr lang="fi-FI" dirty="0"/>
              <a:t>Tihkuminen kiviainekseen (huokoiset kivet)</a:t>
            </a:r>
          </a:p>
          <a:p>
            <a:pPr lvl="1"/>
            <a:r>
              <a:rPr lang="fi-FI" dirty="0"/>
              <a:t>Fyysinen kovettuminen (vahojen kristallisoituminen – palautuvaa!)</a:t>
            </a:r>
          </a:p>
          <a:p>
            <a:r>
              <a:rPr lang="fi-FI" dirty="0"/>
              <a:t>Merkittävät tekijät: lämpötila, pinta-ala vs. kokonaistilavuus ja aika</a:t>
            </a:r>
          </a:p>
        </p:txBody>
      </p:sp>
    </p:spTree>
    <p:extLst>
      <p:ext uri="{BB962C8B-B14F-4D97-AF65-F5344CB8AC3E}">
        <p14:creationId xmlns:p14="http://schemas.microsoft.com/office/powerpoint/2010/main" val="2833629324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604AC4-46DB-3684-DCCC-2DEE69D2DE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/>
              <a:t>Bitumin vanheneminen, ja vanhentaminen laboratorioss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5113698-0399-5939-7537-FDC4892FE8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A49F53B-68F7-402D-8883-CC8AD69B34F2}" type="slidenum">
              <a:rPr lang="en-GB" smtClean="0"/>
              <a:pPr/>
              <a:t>7</a:t>
            </a:fld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14634B1-453B-99EE-09BA-85226A6C340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GB"/>
              <a:t>15 March, 2023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BEB2FC8-8F40-354B-4C53-8E3141A2E3E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2023 Nynas. All rights reserved.</a:t>
            </a:r>
            <a:endParaRPr lang="sv-SE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D5152FE-7333-FAE3-07DD-C232C1BCD42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32001" y="1080000"/>
            <a:ext cx="7281749" cy="1491750"/>
          </a:xfrm>
        </p:spPr>
        <p:txBody>
          <a:bodyPr/>
          <a:lstStyle/>
          <a:p>
            <a:r>
              <a:rPr lang="fi-FI" dirty="0"/>
              <a:t>Vanhentumista tapahtuu:</a:t>
            </a:r>
          </a:p>
          <a:p>
            <a:pPr lvl="1"/>
            <a:r>
              <a:rPr lang="fi-FI" dirty="0"/>
              <a:t>Bitumin kuumavarastoinnissa</a:t>
            </a:r>
          </a:p>
          <a:p>
            <a:pPr lvl="1"/>
            <a:r>
              <a:rPr lang="fi-FI" dirty="0"/>
              <a:t>Asfalttimassan valmistuksen ja levityksen aikana</a:t>
            </a:r>
          </a:p>
          <a:p>
            <a:pPr lvl="1"/>
            <a:r>
              <a:rPr lang="fi-FI" dirty="0"/>
              <a:t>Asfalttipäällysteen käyttöiän aikana</a:t>
            </a:r>
          </a:p>
          <a:p>
            <a:pPr lvl="2"/>
            <a:r>
              <a:rPr lang="fi-FI" dirty="0"/>
              <a:t>Pinnalla vanheneminen on nopeampaa kuin päällysteen sisällä </a:t>
            </a:r>
          </a:p>
          <a:p>
            <a:pPr lvl="2"/>
            <a:r>
              <a:rPr lang="fi-FI" dirty="0"/>
              <a:t>Tyhjätila – avoimissa asfalteissa vanheneminen on nopeampaa kuin tiiviissä</a:t>
            </a:r>
          </a:p>
          <a:p>
            <a:pPr lvl="2"/>
            <a:r>
              <a:rPr lang="fi-FI" dirty="0"/>
              <a:t>Sideainepitoisuus – </a:t>
            </a:r>
            <a:r>
              <a:rPr lang="fi-FI" dirty="0" err="1"/>
              <a:t>vanheminen</a:t>
            </a:r>
            <a:r>
              <a:rPr lang="fi-FI" dirty="0"/>
              <a:t> nopeutuu kun sideainekalvo on ohut</a:t>
            </a: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F7B06D72-F6F4-9D26-0C68-DCE465984CC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84" t="5232" r="1718" b="12452"/>
          <a:stretch/>
        </p:blipFill>
        <p:spPr bwMode="auto">
          <a:xfrm>
            <a:off x="432000" y="2826600"/>
            <a:ext cx="4402666" cy="20037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Content Placeholder 5">
            <a:extLst>
              <a:ext uri="{FF2B5EF4-FFF2-40B4-BE49-F238E27FC236}">
                <a16:creationId xmlns:a16="http://schemas.microsoft.com/office/drawing/2014/main" id="{9130AD2D-E0EA-7D30-C051-137DC69A3D7E}"/>
              </a:ext>
            </a:extLst>
          </p:cNvPr>
          <p:cNvSpPr txBox="1">
            <a:spLocks/>
          </p:cNvSpPr>
          <p:nvPr/>
        </p:nvSpPr>
        <p:spPr>
          <a:xfrm>
            <a:off x="5054801" y="2792799"/>
            <a:ext cx="4004532" cy="214326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57163" indent="-157163" algn="l" defTabSz="685800" rtl="0" eaLnBrk="1" fontAlgn="base" latinLnBrk="0" hangingPunct="1">
              <a:spcBef>
                <a:spcPts val="750"/>
              </a:spcBef>
              <a:spcAft>
                <a:spcPct val="0"/>
              </a:spcAft>
              <a:buSzPct val="120000"/>
              <a:buFontTx/>
              <a:buBlip>
                <a:blip r:embed="rId3"/>
              </a:buBlip>
              <a:defRPr lang="sv-SE" sz="1350" kern="1200">
                <a:solidFill>
                  <a:srgbClr val="3C3C3C"/>
                </a:solidFill>
                <a:latin typeface="Arial" charset="0"/>
                <a:ea typeface="+mn-ea"/>
                <a:cs typeface="+mn-cs"/>
              </a:defRPr>
            </a:lvl1pPr>
            <a:lvl2pPr marL="336947" marR="0" indent="-158354" algn="l" defTabSz="6858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FD500"/>
              </a:buClr>
              <a:buSzPct val="110000"/>
              <a:buFont typeface="Arial" pitchFamily="34" charset="0"/>
              <a:buChar char="•"/>
              <a:tabLst/>
              <a:defRPr lang="sv-SE" sz="1350" kern="1200" baseline="0" smtClean="0">
                <a:solidFill>
                  <a:srgbClr val="3C3C3C"/>
                </a:solidFill>
                <a:latin typeface="Arial" charset="0"/>
                <a:ea typeface="+mn-ea"/>
                <a:cs typeface="+mn-cs"/>
              </a:defRPr>
            </a:lvl2pPr>
            <a:lvl3pPr marL="604838" indent="-201216" algn="l" defTabSz="685800" rtl="0" eaLnBrk="1" fontAlgn="base" latinLnBrk="0" hangingPunct="1">
              <a:spcBef>
                <a:spcPts val="0"/>
              </a:spcBef>
              <a:spcAft>
                <a:spcPct val="0"/>
              </a:spcAft>
              <a:buClr>
                <a:srgbClr val="FFD500"/>
              </a:buClr>
              <a:buSzPct val="120000"/>
              <a:buFont typeface="Arial" pitchFamily="34" charset="0"/>
              <a:buChar char="•"/>
              <a:defRPr lang="sv-SE" sz="1350" kern="1200" baseline="0">
                <a:solidFill>
                  <a:srgbClr val="3C3C3C"/>
                </a:solidFill>
                <a:latin typeface="Arial" charset="0"/>
                <a:ea typeface="+mn-ea"/>
                <a:cs typeface="+mn-cs"/>
              </a:defRPr>
            </a:lvl3pPr>
            <a:lvl4pPr marL="807244" indent="-202406" algn="l" defTabSz="685800" rtl="0" eaLnBrk="1" fontAlgn="base" latinLnBrk="0" hangingPunct="1">
              <a:spcBef>
                <a:spcPts val="0"/>
              </a:spcBef>
              <a:spcAft>
                <a:spcPct val="0"/>
              </a:spcAft>
              <a:buClr>
                <a:srgbClr val="FFD500"/>
              </a:buClr>
              <a:buSzPct val="120000"/>
              <a:buFont typeface="Arial" pitchFamily="34" charset="0"/>
              <a:buChar char="•"/>
              <a:defRPr lang="sv-SE" sz="1350" kern="1200" baseline="0">
                <a:solidFill>
                  <a:srgbClr val="3C3C3C"/>
                </a:solidFill>
                <a:latin typeface="Arial" charset="0"/>
                <a:ea typeface="+mn-ea"/>
                <a:cs typeface="+mn-cs"/>
              </a:defRPr>
            </a:lvl4pPr>
            <a:lvl5pPr marL="1008460" indent="-201216" algn="l" defTabSz="685800" rtl="0" eaLnBrk="1" fontAlgn="base" latinLnBrk="0" hangingPunct="1">
              <a:spcBef>
                <a:spcPts val="0"/>
              </a:spcBef>
              <a:spcAft>
                <a:spcPct val="0"/>
              </a:spcAft>
              <a:buClr>
                <a:srgbClr val="FFD500"/>
              </a:buClr>
              <a:buSzPct val="120000"/>
              <a:buFont typeface="Arial" pitchFamily="34" charset="0"/>
              <a:buChar char="•"/>
              <a:defRPr lang="sv-SE" sz="1350" kern="1200" baseline="0">
                <a:solidFill>
                  <a:srgbClr val="3C3C3C"/>
                </a:solidFill>
                <a:latin typeface="Arial" charset="0"/>
                <a:ea typeface="+mn-ea"/>
                <a:cs typeface="+mn-cs"/>
              </a:defRPr>
            </a:lvl5pPr>
            <a:lvl6pPr marL="810816" indent="-20836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i-FI" dirty="0"/>
              <a:t>Bitumin vanhentaminen laboratoriossa:</a:t>
            </a:r>
          </a:p>
          <a:p>
            <a:pPr lvl="1"/>
            <a:r>
              <a:rPr lang="fi-FI" dirty="0"/>
              <a:t>Lyhytaikainen vanhentaminen ohutkalvokokeella RTFOT 163 °C tai </a:t>
            </a:r>
            <a:br>
              <a:rPr lang="fi-FI" dirty="0"/>
            </a:br>
            <a:r>
              <a:rPr lang="fi-FI" dirty="0"/>
              <a:t>TFOT 120 °C hyvin pehmeille bitumeille</a:t>
            </a:r>
          </a:p>
          <a:p>
            <a:pPr lvl="1"/>
            <a:r>
              <a:rPr lang="fi-FI" dirty="0"/>
              <a:t>Pitkäaikainen vanhentaminen PAV (</a:t>
            </a:r>
            <a:r>
              <a:rPr lang="fi-FI" dirty="0" err="1"/>
              <a:t>Pressure</a:t>
            </a:r>
            <a:r>
              <a:rPr lang="fi-FI" dirty="0"/>
              <a:t> </a:t>
            </a:r>
            <a:r>
              <a:rPr lang="fi-FI" dirty="0" err="1"/>
              <a:t>Aging</a:t>
            </a:r>
            <a:r>
              <a:rPr lang="fi-FI" dirty="0"/>
              <a:t> </a:t>
            </a:r>
            <a:r>
              <a:rPr lang="fi-FI" dirty="0" err="1"/>
              <a:t>Vessel</a:t>
            </a:r>
            <a:r>
              <a:rPr lang="fi-FI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246729395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F262A38-0EC4-7C7D-56F8-38377FC4823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A49F53B-68F7-402D-8883-CC8AD69B34F2}" type="slidenum">
              <a:rPr lang="en-GB" smtClean="0"/>
              <a:pPr/>
              <a:t>8</a:t>
            </a:fld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A101D0-BF95-D599-CD8B-305D0AD84E09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GB"/>
              <a:t>15 March, 2023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419A12D-1D03-4F0E-AEB5-BC98AA6AEA5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2023 Nynas. All rights reserved.</a:t>
            </a:r>
            <a:endParaRPr lang="sv-SE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07EF43D-826F-6E70-ACED-5D1B1F5729C5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GB" dirty="0" err="1"/>
              <a:t>Liimaa</a:t>
            </a:r>
            <a:r>
              <a:rPr lang="en-GB" dirty="0"/>
              <a:t> </a:t>
            </a:r>
            <a:r>
              <a:rPr lang="en-GB" dirty="0" err="1"/>
              <a:t>kivet</a:t>
            </a:r>
            <a:r>
              <a:rPr lang="en-GB" dirty="0"/>
              <a:t> </a:t>
            </a:r>
            <a:r>
              <a:rPr lang="en-GB" dirty="0" err="1"/>
              <a:t>ja</a:t>
            </a:r>
            <a:r>
              <a:rPr lang="en-GB" dirty="0"/>
              <a:t> </a:t>
            </a:r>
            <a:r>
              <a:rPr lang="en-GB" dirty="0" err="1"/>
              <a:t>pinnat</a:t>
            </a:r>
            <a:endParaRPr lang="en-GB" dirty="0"/>
          </a:p>
          <a:p>
            <a:r>
              <a:rPr lang="en-GB" dirty="0" err="1"/>
              <a:t>Työstettävissä</a:t>
            </a:r>
            <a:r>
              <a:rPr lang="en-GB" dirty="0"/>
              <a:t> </a:t>
            </a:r>
            <a:r>
              <a:rPr lang="en-GB" dirty="0" err="1"/>
              <a:t>kuumana</a:t>
            </a:r>
            <a:endParaRPr lang="en-GB" dirty="0"/>
          </a:p>
          <a:p>
            <a:r>
              <a:rPr lang="en-GB" dirty="0" err="1"/>
              <a:t>Ei</a:t>
            </a:r>
            <a:r>
              <a:rPr lang="en-GB" dirty="0"/>
              <a:t> </a:t>
            </a:r>
            <a:r>
              <a:rPr lang="en-GB" dirty="0" err="1"/>
              <a:t>hauras</a:t>
            </a:r>
            <a:r>
              <a:rPr lang="en-GB" dirty="0"/>
              <a:t> </a:t>
            </a:r>
            <a:r>
              <a:rPr lang="en-GB" dirty="0" err="1"/>
              <a:t>kylmässä</a:t>
            </a:r>
            <a:r>
              <a:rPr lang="en-GB" dirty="0"/>
              <a:t>, </a:t>
            </a:r>
            <a:r>
              <a:rPr lang="en-GB" dirty="0" err="1"/>
              <a:t>mutta</a:t>
            </a:r>
            <a:r>
              <a:rPr lang="en-GB" dirty="0"/>
              <a:t> </a:t>
            </a:r>
            <a:r>
              <a:rPr lang="en-GB" dirty="0" err="1"/>
              <a:t>riittävän</a:t>
            </a:r>
            <a:r>
              <a:rPr lang="en-GB" dirty="0"/>
              <a:t> </a:t>
            </a:r>
            <a:r>
              <a:rPr lang="en-GB" dirty="0" err="1"/>
              <a:t>jäykkä</a:t>
            </a:r>
            <a:r>
              <a:rPr lang="en-GB" dirty="0"/>
              <a:t> </a:t>
            </a:r>
            <a:r>
              <a:rPr lang="en-GB" dirty="0" err="1"/>
              <a:t>normaalilämpötiloissa</a:t>
            </a:r>
            <a:endParaRPr lang="en-GB" dirty="0"/>
          </a:p>
          <a:p>
            <a:r>
              <a:rPr lang="fi-FI" dirty="0"/>
              <a:t>Ei kovetu liikaa tai liian nopeasti vanhenemisen vaikutuksesta</a:t>
            </a:r>
          </a:p>
          <a:p>
            <a:r>
              <a:rPr lang="fi-FI" dirty="0"/>
              <a:t>Vedenkestävyys</a:t>
            </a:r>
          </a:p>
          <a:p>
            <a:r>
              <a:rPr lang="fi-FI" dirty="0"/>
              <a:t>Turvallinen käyttää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4FA178CC-86E0-B604-4931-F635254E12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404813"/>
            <a:ext cx="7281863" cy="431800"/>
          </a:xfrm>
        </p:spPr>
        <p:txBody>
          <a:bodyPr/>
          <a:lstStyle/>
          <a:p>
            <a:r>
              <a:rPr lang="en-GB" dirty="0" err="1"/>
              <a:t>Mitä</a:t>
            </a:r>
            <a:r>
              <a:rPr lang="en-GB" dirty="0"/>
              <a:t> </a:t>
            </a:r>
            <a:r>
              <a:rPr lang="en-GB" dirty="0" err="1"/>
              <a:t>bitumilta</a:t>
            </a:r>
            <a:r>
              <a:rPr lang="en-GB" dirty="0"/>
              <a:t> </a:t>
            </a:r>
            <a:r>
              <a:rPr lang="en-GB" dirty="0" err="1"/>
              <a:t>vaaditaan</a:t>
            </a:r>
            <a:r>
              <a:rPr lang="en-GB" dirty="0"/>
              <a:t> </a:t>
            </a:r>
            <a:r>
              <a:rPr lang="en-GB" dirty="0" err="1"/>
              <a:t>päällystämisessä</a:t>
            </a:r>
            <a:r>
              <a:rPr lang="en-GB" dirty="0"/>
              <a:t> - </a:t>
            </a:r>
            <a:r>
              <a:rPr lang="en-GB" dirty="0" err="1"/>
              <a:t>käytännössä</a:t>
            </a:r>
            <a:r>
              <a:rPr lang="en-GB" dirty="0"/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787524444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ubrik 7">
            <a:extLst>
              <a:ext uri="{FF2B5EF4-FFF2-40B4-BE49-F238E27FC236}">
                <a16:creationId xmlns:a16="http://schemas.microsoft.com/office/drawing/2014/main" id="{9270C89D-FB4A-4AE9-9D3D-F4DF98FE9F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r>
              <a:rPr lang="sv-SE" dirty="0" err="1"/>
              <a:t>Bitumien</a:t>
            </a:r>
            <a:r>
              <a:rPr lang="sv-SE" dirty="0"/>
              <a:t> </a:t>
            </a:r>
            <a:r>
              <a:rPr lang="sv-SE" dirty="0" err="1"/>
              <a:t>laatuvaatimukset</a:t>
            </a:r>
            <a:endParaRPr lang="sv-SE" dirty="0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FA576A22-9A19-4313-A3DA-87F3D62321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 anchor="b">
            <a:normAutofit/>
          </a:bodyPr>
          <a:lstStyle/>
          <a:p>
            <a:pPr>
              <a:spcAft>
                <a:spcPts val="600"/>
              </a:spcAft>
            </a:pPr>
            <a:fld id="{1A49F53B-68F7-402D-8883-CC8AD69B34F2}" type="slidenum">
              <a:rPr lang="en-GB" smtClean="0"/>
              <a:pPr>
                <a:spcAft>
                  <a:spcPts val="600"/>
                </a:spcAft>
              </a:pPr>
              <a:t>9</a:t>
            </a:fld>
            <a:endParaRPr lang="en-GB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B8C6E6CE-8CD3-4686-8E62-4F05D3FB23E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 anchor="b">
            <a:normAutofit/>
          </a:bodyPr>
          <a:lstStyle/>
          <a:p>
            <a:pPr algn="l">
              <a:spcAft>
                <a:spcPts val="600"/>
              </a:spcAft>
            </a:pPr>
            <a:r>
              <a:rPr lang="en-GB"/>
              <a:t>15 March, 2023</a:t>
            </a:r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D4BA1E00-00A0-43F7-8B57-98C7C929E9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 anchor="b"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©2023 Nynas. All rights reserved.</a:t>
            </a:r>
            <a:endParaRPr lang="sv-SE"/>
          </a:p>
        </p:txBody>
      </p:sp>
      <p:graphicFrame>
        <p:nvGraphicFramePr>
          <p:cNvPr id="18" name="Platshållare för innehåll 8">
            <a:extLst>
              <a:ext uri="{FF2B5EF4-FFF2-40B4-BE49-F238E27FC236}">
                <a16:creationId xmlns:a16="http://schemas.microsoft.com/office/drawing/2014/main" id="{4CBBD3D6-1B0D-B796-B3E8-88010CD30C08}"/>
              </a:ext>
            </a:extLst>
          </p:cNvPr>
          <p:cNvGraphicFramePr>
            <a:graphicFrameLocks noGrp="1"/>
          </p:cNvGraphicFramePr>
          <p:nvPr>
            <p:ph sz="quarter" idx="16"/>
            <p:extLst>
              <p:ext uri="{D42A27DB-BD31-4B8C-83A1-F6EECF244321}">
                <p14:modId xmlns:p14="http://schemas.microsoft.com/office/powerpoint/2010/main" val="2706900536"/>
              </p:ext>
            </p:extLst>
          </p:nvPr>
        </p:nvGraphicFramePr>
        <p:xfrm>
          <a:off x="431800" y="1079500"/>
          <a:ext cx="7281863" cy="30765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" val="e3a1cf56a5a4a9275d2ee6fb5b81e67f6ee1e015"/>
  <p:tag name="ISPRING_RESOURCE_PATHS_HASH_PRESENTER" val="84fec1f7d8c7c0b7ec3f648f9156727392377ed9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3lltYBz0ITmoWzqE0Pkt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ynas Corp">
  <a:themeElements>
    <a:clrScheme name="Anpassat 75">
      <a:dk1>
        <a:srgbClr val="3C3C3C"/>
      </a:dk1>
      <a:lt1>
        <a:srgbClr val="FFFFFF"/>
      </a:lt1>
      <a:dk2>
        <a:srgbClr val="9F3259"/>
      </a:dk2>
      <a:lt2>
        <a:srgbClr val="D8E2EE"/>
      </a:lt2>
      <a:accent1>
        <a:srgbClr val="0054A3"/>
      </a:accent1>
      <a:accent2>
        <a:srgbClr val="FFD500"/>
      </a:accent2>
      <a:accent3>
        <a:srgbClr val="919191"/>
      </a:accent3>
      <a:accent4>
        <a:srgbClr val="69AAA4"/>
      </a:accent4>
      <a:accent5>
        <a:srgbClr val="B8CAE0"/>
      </a:accent5>
      <a:accent6>
        <a:srgbClr val="3C3C3C"/>
      </a:accent6>
      <a:hlink>
        <a:srgbClr val="0054A3"/>
      </a:hlink>
      <a:folHlink>
        <a:srgbClr val="69AAA4"/>
      </a:folHlink>
    </a:clrScheme>
    <a:fontScheme name="Office - klassiskt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</a:spPr>
      <a:bodyPr lIns="36000" tIns="36000" rIns="36000" bIns="36000" rtlCol="0" anchor="t" anchorCtr="0"/>
      <a:lstStyle>
        <a:defPPr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3C3C3C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 anchor="t" anchorCtr="0">
        <a:noAutofit/>
      </a:bodyPr>
      <a:lstStyle>
        <a:defPPr>
          <a:defRPr sz="1200" dirty="0" err="1" smtClean="0">
            <a:solidFill>
              <a:srgbClr val="3C3C3C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ynas PPT template_wide_2021.pptx" id="{4FB7A82D-C400-4F67-9354-771767EE837B}" vid="{FDD7CF4A-DF4D-440C-ABE5-073AEF4D1FD0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ynas PPT template_wide_2021</Template>
  <TotalTime>0</TotalTime>
  <Words>1822</Words>
  <Application>Microsoft Office PowerPoint</Application>
  <PresentationFormat>On-screen Show (16:9)</PresentationFormat>
  <Paragraphs>469</Paragraphs>
  <Slides>23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0" baseType="lpstr">
      <vt:lpstr>Arial</vt:lpstr>
      <vt:lpstr>Calibri</vt:lpstr>
      <vt:lpstr>Symbol</vt:lpstr>
      <vt:lpstr>Times</vt:lpstr>
      <vt:lpstr>Times New Roman</vt:lpstr>
      <vt:lpstr>Nynas Corp</vt:lpstr>
      <vt:lpstr>think-cell Slide</vt:lpstr>
      <vt:lpstr>PowerPoint Presentation</vt:lpstr>
      <vt:lpstr>Esityksen sisältö</vt:lpstr>
      <vt:lpstr>Mitä bitumi on?</vt:lpstr>
      <vt:lpstr>Bitumi on viskoelastinen materiaali</vt:lpstr>
      <vt:lpstr>Raakaöljypohja + valmistusprosessi = bitumin ominaisuudet</vt:lpstr>
      <vt:lpstr>Bitumin vanheneminen</vt:lpstr>
      <vt:lpstr>Bitumin vanheneminen, ja vanhentaminen laboratoriossa</vt:lpstr>
      <vt:lpstr>Mitä bitumilta vaaditaan päällystämisessä - käytännössä?</vt:lpstr>
      <vt:lpstr>Bitumien laatuvaatimukset</vt:lpstr>
      <vt:lpstr>CE-merkintä ja Asfalttinormien laatuvaatimukset</vt:lpstr>
      <vt:lpstr>Tiebitumien laatuvaatimukset Asfalttinormeissa (SFS-EN 12591)</vt:lpstr>
      <vt:lpstr>Pehmeiden tiebitumien laatuvaatimukset Asfalttinormeissa  (SFS-EN 12591)</vt:lpstr>
      <vt:lpstr>Viskositeettiluokiteltujen tiebitumien laatuvaatimukset Asfalttinormeissa (SFS-EN 12591)</vt:lpstr>
      <vt:lpstr>Bitumin laatuvaatimukset</vt:lpstr>
      <vt:lpstr>Bitumin laatuvaatimukset: koveneminen/vanheneminen</vt:lpstr>
      <vt:lpstr>Laadunvarmistus toimitusketjussa</vt:lpstr>
      <vt:lpstr>Bitumien sekoittaminen - laadunvarmistus</vt:lpstr>
      <vt:lpstr>PowerPoint Presentation</vt:lpstr>
      <vt:lpstr>Päällysteen vedenkestävyys</vt:lpstr>
      <vt:lpstr>Tartunta kiviainekseen</vt:lpstr>
      <vt:lpstr>Tartukkeet</vt:lpstr>
      <vt:lpstr>Tartukkeet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Teresa Fischer</dc:creator>
  <cp:keywords/>
  <dc:description/>
  <cp:lastModifiedBy>Helena Remes</cp:lastModifiedBy>
  <cp:revision>4</cp:revision>
  <cp:lastPrinted>2015-11-23T15:00:13Z</cp:lastPrinted>
  <dcterms:created xsi:type="dcterms:W3CDTF">2022-01-14T13:11:22Z</dcterms:created>
  <dcterms:modified xsi:type="dcterms:W3CDTF">2023-03-15T06:47:43Z</dcterms:modified>
  <cp:category/>
</cp:coreProperties>
</file>